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03" r:id="rId3"/>
    <p:sldId id="1204" r:id="rId4"/>
    <p:sldId id="1205" r:id="rId5"/>
    <p:sldId id="1206" r:id="rId6"/>
    <p:sldId id="1207" r:id="rId7"/>
    <p:sldId id="1208" r:id="rId8"/>
    <p:sldId id="1209" r:id="rId9"/>
    <p:sldId id="1210" r:id="rId10"/>
    <p:sldId id="1211" r:id="rId11"/>
    <p:sldId id="1212" r:id="rId12"/>
    <p:sldId id="1213" r:id="rId13"/>
    <p:sldId id="1214" r:id="rId14"/>
    <p:sldId id="1215" r:id="rId15"/>
    <p:sldId id="1216" r:id="rId16"/>
    <p:sldId id="1217" r:id="rId17"/>
    <p:sldId id="1218" r:id="rId18"/>
    <p:sldId id="1219" r:id="rId19"/>
    <p:sldId id="1220" r:id="rId20"/>
    <p:sldId id="1221" r:id="rId21"/>
    <p:sldId id="1222" r:id="rId22"/>
    <p:sldId id="1223" r:id="rId23"/>
    <p:sldId id="1224" r:id="rId24"/>
    <p:sldId id="1225" r:id="rId25"/>
    <p:sldId id="1226" r:id="rId26"/>
    <p:sldId id="1227" r:id="rId27"/>
    <p:sldId id="1228" r:id="rId28"/>
    <p:sldId id="1229" r:id="rId29"/>
    <p:sldId id="1230" r:id="rId30"/>
    <p:sldId id="1231" r:id="rId31"/>
    <p:sldId id="1232" r:id="rId32"/>
    <p:sldId id="1233" r:id="rId33"/>
    <p:sldId id="123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372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48</c:v>
                </c:pt>
                <c:pt idx="1">
                  <c:v>959</c:v>
                </c:pt>
                <c:pt idx="2">
                  <c:v>1004</c:v>
                </c:pt>
                <c:pt idx="3">
                  <c:v>1090</c:v>
                </c:pt>
                <c:pt idx="4">
                  <c:v>1111</c:v>
                </c:pt>
                <c:pt idx="5">
                  <c:v>1149</c:v>
                </c:pt>
                <c:pt idx="6">
                  <c:v>1148</c:v>
                </c:pt>
                <c:pt idx="7">
                  <c:v>1141</c:v>
                </c:pt>
                <c:pt idx="8">
                  <c:v>1148</c:v>
                </c:pt>
                <c:pt idx="9">
                  <c:v>1175</c:v>
                </c:pt>
                <c:pt idx="10">
                  <c:v>1187</c:v>
                </c:pt>
                <c:pt idx="11">
                  <c:v>1173</c:v>
                </c:pt>
                <c:pt idx="12">
                  <c:v>1170</c:v>
                </c:pt>
                <c:pt idx="13">
                  <c:v>1179</c:v>
                </c:pt>
                <c:pt idx="14">
                  <c:v>1168</c:v>
                </c:pt>
                <c:pt idx="15">
                  <c:v>1157</c:v>
                </c:pt>
                <c:pt idx="16">
                  <c:v>1128</c:v>
                </c:pt>
                <c:pt idx="17">
                  <c:v>1153</c:v>
                </c:pt>
                <c:pt idx="18">
                  <c:v>1134</c:v>
                </c:pt>
                <c:pt idx="19">
                  <c:v>1110</c:v>
                </c:pt>
                <c:pt idx="20">
                  <c:v>1104</c:v>
                </c:pt>
                <c:pt idx="21">
                  <c:v>1108</c:v>
                </c:pt>
                <c:pt idx="22">
                  <c:v>1090</c:v>
                </c:pt>
                <c:pt idx="23">
                  <c:v>1056</c:v>
                </c:pt>
                <c:pt idx="24">
                  <c:v>1078</c:v>
                </c:pt>
                <c:pt idx="25">
                  <c:v>1045</c:v>
                </c:pt>
                <c:pt idx="26">
                  <c:v>1036</c:v>
                </c:pt>
                <c:pt idx="27">
                  <c:v>1017</c:v>
                </c:pt>
                <c:pt idx="28">
                  <c:v>1017</c:v>
                </c:pt>
                <c:pt idx="29">
                  <c:v>1022</c:v>
                </c:pt>
                <c:pt idx="30">
                  <c:v>1040</c:v>
                </c:pt>
                <c:pt idx="31">
                  <c:v>1079</c:v>
                </c:pt>
                <c:pt idx="32">
                  <c:v>1090</c:v>
                </c:pt>
                <c:pt idx="33">
                  <c:v>1077</c:v>
                </c:pt>
                <c:pt idx="34">
                  <c:v>1104</c:v>
                </c:pt>
                <c:pt idx="35">
                  <c:v>1090</c:v>
                </c:pt>
                <c:pt idx="36">
                  <c:v>1073</c:v>
                </c:pt>
                <c:pt idx="37">
                  <c:v>1099</c:v>
                </c:pt>
                <c:pt idx="38">
                  <c:v>1107</c:v>
                </c:pt>
                <c:pt idx="39">
                  <c:v>1093</c:v>
                </c:pt>
                <c:pt idx="40">
                  <c:v>1108</c:v>
                </c:pt>
                <c:pt idx="41">
                  <c:v>1114</c:v>
                </c:pt>
                <c:pt idx="42">
                  <c:v>1112</c:v>
                </c:pt>
                <c:pt idx="43">
                  <c:v>1106</c:v>
                </c:pt>
                <c:pt idx="44">
                  <c:v>1147</c:v>
                </c:pt>
                <c:pt idx="45">
                  <c:v>1170</c:v>
                </c:pt>
                <c:pt idx="46">
                  <c:v>1214</c:v>
                </c:pt>
                <c:pt idx="47">
                  <c:v>1242</c:v>
                </c:pt>
                <c:pt idx="48">
                  <c:v>1267</c:v>
                </c:pt>
                <c:pt idx="49">
                  <c:v>1270</c:v>
                </c:pt>
                <c:pt idx="50">
                  <c:v>1271</c:v>
                </c:pt>
                <c:pt idx="51">
                  <c:v>1282</c:v>
                </c:pt>
                <c:pt idx="52">
                  <c:v>1364</c:v>
                </c:pt>
                <c:pt idx="53">
                  <c:v>1393</c:v>
                </c:pt>
                <c:pt idx="54">
                  <c:v>1410</c:v>
                </c:pt>
                <c:pt idx="55">
                  <c:v>1463</c:v>
                </c:pt>
                <c:pt idx="56">
                  <c:v>1439</c:v>
                </c:pt>
                <c:pt idx="57">
                  <c:v>1466</c:v>
                </c:pt>
                <c:pt idx="58">
                  <c:v>1504</c:v>
                </c:pt>
                <c:pt idx="59">
                  <c:v>1587</c:v>
                </c:pt>
                <c:pt idx="60">
                  <c:v>1599</c:v>
                </c:pt>
                <c:pt idx="61">
                  <c:v>1625</c:v>
                </c:pt>
                <c:pt idx="62">
                  <c:v>1650</c:v>
                </c:pt>
                <c:pt idx="63">
                  <c:v>1670</c:v>
                </c:pt>
                <c:pt idx="64">
                  <c:v>1673</c:v>
                </c:pt>
                <c:pt idx="65">
                  <c:v>1676</c:v>
                </c:pt>
                <c:pt idx="66">
                  <c:v>1770</c:v>
                </c:pt>
                <c:pt idx="67">
                  <c:v>1798</c:v>
                </c:pt>
                <c:pt idx="68">
                  <c:v>1829</c:v>
                </c:pt>
                <c:pt idx="69">
                  <c:v>1819</c:v>
                </c:pt>
                <c:pt idx="70">
                  <c:v>1835</c:v>
                </c:pt>
                <c:pt idx="71">
                  <c:v>1784</c:v>
                </c:pt>
                <c:pt idx="72">
                  <c:v>1831</c:v>
                </c:pt>
                <c:pt idx="73">
                  <c:v>1889</c:v>
                </c:pt>
                <c:pt idx="74">
                  <c:v>1894</c:v>
                </c:pt>
                <c:pt idx="75">
                  <c:v>1864</c:v>
                </c:pt>
                <c:pt idx="76">
                  <c:v>1864</c:v>
                </c:pt>
                <c:pt idx="77">
                  <c:v>1824</c:v>
                </c:pt>
                <c:pt idx="78">
                  <c:v>1788</c:v>
                </c:pt>
                <c:pt idx="79">
                  <c:v>1811</c:v>
                </c:pt>
                <c:pt idx="80">
                  <c:v>1826</c:v>
                </c:pt>
                <c:pt idx="81">
                  <c:v>1783</c:v>
                </c:pt>
                <c:pt idx="82">
                  <c:v>1749</c:v>
                </c:pt>
                <c:pt idx="83">
                  <c:v>1748</c:v>
                </c:pt>
                <c:pt idx="84">
                  <c:v>1687</c:v>
                </c:pt>
                <c:pt idx="85">
                  <c:v>1649</c:v>
                </c:pt>
                <c:pt idx="86">
                  <c:v>1663</c:v>
                </c:pt>
                <c:pt idx="87">
                  <c:v>1670</c:v>
                </c:pt>
                <c:pt idx="88">
                  <c:v>1618</c:v>
                </c:pt>
                <c:pt idx="89">
                  <c:v>1545</c:v>
                </c:pt>
                <c:pt idx="90">
                  <c:v>1471</c:v>
                </c:pt>
                <c:pt idx="91">
                  <c:v>1430</c:v>
                </c:pt>
                <c:pt idx="92">
                  <c:v>1432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797.3873111730345</c:v>
                </c:pt>
                <c:pt idx="71">
                  <c:v>1760.1541718416245</c:v>
                </c:pt>
                <c:pt idx="72">
                  <c:v>1722.0347037008469</c:v>
                </c:pt>
                <c:pt idx="73">
                  <c:v>1683.1806894927768</c:v>
                </c:pt>
                <c:pt idx="74">
                  <c:v>1643.7382136047186</c:v>
                </c:pt>
                <c:pt idx="75">
                  <c:v>1603.4280490485999</c:v>
                </c:pt>
                <c:pt idx="76">
                  <c:v>1563.1406113908149</c:v>
                </c:pt>
                <c:pt idx="77">
                  <c:v>1522.9814864072439</c:v>
                </c:pt>
                <c:pt idx="78">
                  <c:v>1481.8655317196451</c:v>
                </c:pt>
                <c:pt idx="79">
                  <c:v>1440.1959072065763</c:v>
                </c:pt>
                <c:pt idx="80">
                  <c:v>1397.5238344125205</c:v>
                </c:pt>
                <c:pt idx="81">
                  <c:v>1354.0386051596934</c:v>
                </c:pt>
                <c:pt idx="82">
                  <c:v>1310.9404186266702</c:v>
                </c:pt>
                <c:pt idx="83">
                  <c:v>1268.0495140187445</c:v>
                </c:pt>
                <c:pt idx="84">
                  <c:v>1226.0280145859019</c:v>
                </c:pt>
                <c:pt idx="85">
                  <c:v>1184.6487096796113</c:v>
                </c:pt>
                <c:pt idx="86">
                  <c:v>1143.8463977643728</c:v>
                </c:pt>
                <c:pt idx="87">
                  <c:v>1103.6371354565513</c:v>
                </c:pt>
                <c:pt idx="88">
                  <c:v>1064.127848617331</c:v>
                </c:pt>
                <c:pt idx="89">
                  <c:v>1025.6042863739356</c:v>
                </c:pt>
                <c:pt idx="90">
                  <c:v>988.22499004300494</c:v>
                </c:pt>
                <c:pt idx="91">
                  <c:v>952.11296519062819</c:v>
                </c:pt>
                <c:pt idx="92">
                  <c:v>917.06731824775568</c:v>
                </c:pt>
                <c:pt idx="93">
                  <c:v>882.906538465598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1E0-4231-8F18-A7B6D281C4B8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801.985709070535</c:v>
                </c:pt>
                <c:pt idx="71">
                  <c:v>1771.3292570811548</c:v>
                </c:pt>
                <c:pt idx="72">
                  <c:v>1741.3634032323635</c:v>
                </c:pt>
                <c:pt idx="73">
                  <c:v>1712.3325781788089</c:v>
                </c:pt>
                <c:pt idx="74">
                  <c:v>1684.3780258446677</c:v>
                </c:pt>
                <c:pt idx="75">
                  <c:v>1656.9127118571348</c:v>
                </c:pt>
                <c:pt idx="76">
                  <c:v>1630.6390153099396</c:v>
                </c:pt>
                <c:pt idx="77">
                  <c:v>1605.4877553055996</c:v>
                </c:pt>
                <c:pt idx="78">
                  <c:v>1580.3406590161549</c:v>
                </c:pt>
                <c:pt idx="79">
                  <c:v>1555.3938234743262</c:v>
                </c:pt>
                <c:pt idx="80">
                  <c:v>1529.9993851945494</c:v>
                </c:pt>
                <c:pt idx="81">
                  <c:v>1504.1213095441731</c:v>
                </c:pt>
                <c:pt idx="82">
                  <c:v>1478.709025835522</c:v>
                </c:pt>
                <c:pt idx="83">
                  <c:v>1453.4382427263547</c:v>
                </c:pt>
                <c:pt idx="84">
                  <c:v>1428.869097972336</c:v>
                </c:pt>
                <c:pt idx="85">
                  <c:v>1404.6541652714163</c:v>
                </c:pt>
                <c:pt idx="86">
                  <c:v>1380.6597927351927</c:v>
                </c:pt>
                <c:pt idx="87">
                  <c:v>1356.8105579883706</c:v>
                </c:pt>
                <c:pt idx="88">
                  <c:v>1333.1479103881186</c:v>
                </c:pt>
                <c:pt idx="89">
                  <c:v>1309.8970184145385</c:v>
                </c:pt>
                <c:pt idx="90">
                  <c:v>1287.1607485937934</c:v>
                </c:pt>
                <c:pt idx="91">
                  <c:v>1265.0163999037354</c:v>
                </c:pt>
                <c:pt idx="92">
                  <c:v>1243.2482317955441</c:v>
                </c:pt>
                <c:pt idx="93">
                  <c:v>1221.64595033619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1E0-4231-8F18-A7B6D281C4B8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837.6687593431718</c:v>
                </c:pt>
                <c:pt idx="71">
                  <c:v>1843.9218581308221</c:v>
                </c:pt>
                <c:pt idx="72">
                  <c:v>1851.5486739137127</c:v>
                </c:pt>
                <c:pt idx="73">
                  <c:v>1860.8842055615908</c:v>
                </c:pt>
                <c:pt idx="74">
                  <c:v>1872.2644415213902</c:v>
                </c:pt>
                <c:pt idx="75">
                  <c:v>1885.1125540235007</c:v>
                </c:pt>
                <c:pt idx="76">
                  <c:v>1899.6701093679769</c:v>
                </c:pt>
                <c:pt idx="77">
                  <c:v>1915.8378095643545</c:v>
                </c:pt>
                <c:pt idx="78">
                  <c:v>1933.2371355302985</c:v>
                </c:pt>
                <c:pt idx="79">
                  <c:v>1951.9933683876657</c:v>
                </c:pt>
                <c:pt idx="80">
                  <c:v>1971.4325106088409</c:v>
                </c:pt>
                <c:pt idx="81">
                  <c:v>1991.3093475633384</c:v>
                </c:pt>
                <c:pt idx="82">
                  <c:v>2012.1230385107419</c:v>
                </c:pt>
                <c:pt idx="83">
                  <c:v>2033.6713798162327</c:v>
                </c:pt>
                <c:pt idx="84">
                  <c:v>2056.4306504744109</c:v>
                </c:pt>
                <c:pt idx="85">
                  <c:v>2079.8293076355444</c:v>
                </c:pt>
                <c:pt idx="86">
                  <c:v>2103.6918382976455</c:v>
                </c:pt>
                <c:pt idx="87">
                  <c:v>2128.2335387181515</c:v>
                </c:pt>
                <c:pt idx="88">
                  <c:v>2154.8033859393563</c:v>
                </c:pt>
                <c:pt idx="89">
                  <c:v>2183.3380389338759</c:v>
                </c:pt>
                <c:pt idx="90">
                  <c:v>2213.868682455789</c:v>
                </c:pt>
                <c:pt idx="91">
                  <c:v>2246.2723631961685</c:v>
                </c:pt>
                <c:pt idx="92">
                  <c:v>2280.3632220305453</c:v>
                </c:pt>
                <c:pt idx="93">
                  <c:v>2315.87312896828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1E0-4231-8F18-A7B6D281C4B8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1839.1675261253495</c:v>
                </c:pt>
                <c:pt idx="71">
                  <c:v>1847.6444561565788</c:v>
                </c:pt>
                <c:pt idx="72">
                  <c:v>1858.1902840028752</c:v>
                </c:pt>
                <c:pt idx="73">
                  <c:v>1871.2139519618086</c:v>
                </c:pt>
                <c:pt idx="74">
                  <c:v>1887.107514763713</c:v>
                </c:pt>
                <c:pt idx="75">
                  <c:v>1905.1668730819442</c:v>
                </c:pt>
                <c:pt idx="76">
                  <c:v>1925.5934193776422</c:v>
                </c:pt>
                <c:pt idx="77">
                  <c:v>1948.2899537852024</c:v>
                </c:pt>
                <c:pt idx="78">
                  <c:v>1972.9837691544142</c:v>
                </c:pt>
                <c:pt idx="79">
                  <c:v>1999.7885760349091</c:v>
                </c:pt>
                <c:pt idx="80">
                  <c:v>2027.9921312805745</c:v>
                </c:pt>
                <c:pt idx="81">
                  <c:v>2057.2868466411342</c:v>
                </c:pt>
                <c:pt idx="82">
                  <c:v>2089.8359548627122</c:v>
                </c:pt>
                <c:pt idx="83">
                  <c:v>2125.9527796421694</c:v>
                </c:pt>
                <c:pt idx="84">
                  <c:v>2166.1082136385617</c:v>
                </c:pt>
                <c:pt idx="85">
                  <c:v>2209.5996623728342</c:v>
                </c:pt>
                <c:pt idx="86">
                  <c:v>2256.1415872535081</c:v>
                </c:pt>
                <c:pt idx="87">
                  <c:v>2305.347839961159</c:v>
                </c:pt>
                <c:pt idx="88">
                  <c:v>2357.3661250583646</c:v>
                </c:pt>
                <c:pt idx="89">
                  <c:v>2412.1503445770886</c:v>
                </c:pt>
                <c:pt idx="90">
                  <c:v>2469.7777443762611</c:v>
                </c:pt>
                <c:pt idx="91">
                  <c:v>2530.1483925628572</c:v>
                </c:pt>
                <c:pt idx="92">
                  <c:v>2593.0863077567374</c:v>
                </c:pt>
                <c:pt idx="93">
                  <c:v>2658.33005856764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1E0-4231-8F18-A7B6D281C4B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208</c:v>
                </c:pt>
                <c:pt idx="1">
                  <c:v>1208</c:v>
                </c:pt>
                <c:pt idx="2">
                  <c:v>1208</c:v>
                </c:pt>
                <c:pt idx="3">
                  <c:v>1208</c:v>
                </c:pt>
                <c:pt idx="4">
                  <c:v>1208</c:v>
                </c:pt>
                <c:pt idx="5">
                  <c:v>1208</c:v>
                </c:pt>
                <c:pt idx="6">
                  <c:v>1208</c:v>
                </c:pt>
                <c:pt idx="7">
                  <c:v>1208</c:v>
                </c:pt>
                <c:pt idx="8">
                  <c:v>1208</c:v>
                </c:pt>
                <c:pt idx="9">
                  <c:v>1208</c:v>
                </c:pt>
                <c:pt idx="10">
                  <c:v>1208</c:v>
                </c:pt>
                <c:pt idx="11">
                  <c:v>1208</c:v>
                </c:pt>
                <c:pt idx="12">
                  <c:v>1208</c:v>
                </c:pt>
                <c:pt idx="13">
                  <c:v>1208</c:v>
                </c:pt>
                <c:pt idx="14">
                  <c:v>1208</c:v>
                </c:pt>
                <c:pt idx="15">
                  <c:v>1208</c:v>
                </c:pt>
                <c:pt idx="16">
                  <c:v>1208</c:v>
                </c:pt>
                <c:pt idx="17">
                  <c:v>1208</c:v>
                </c:pt>
                <c:pt idx="18">
                  <c:v>1208</c:v>
                </c:pt>
                <c:pt idx="19">
                  <c:v>1208</c:v>
                </c:pt>
                <c:pt idx="20">
                  <c:v>1208</c:v>
                </c:pt>
                <c:pt idx="21">
                  <c:v>1208</c:v>
                </c:pt>
                <c:pt idx="22">
                  <c:v>1208</c:v>
                </c:pt>
                <c:pt idx="23">
                  <c:v>1208</c:v>
                </c:pt>
                <c:pt idx="24">
                  <c:v>1208</c:v>
                </c:pt>
                <c:pt idx="25">
                  <c:v>1208</c:v>
                </c:pt>
                <c:pt idx="26">
                  <c:v>1208</c:v>
                </c:pt>
                <c:pt idx="27">
                  <c:v>1208</c:v>
                </c:pt>
                <c:pt idx="28">
                  <c:v>1208</c:v>
                </c:pt>
                <c:pt idx="29">
                  <c:v>1208</c:v>
                </c:pt>
                <c:pt idx="30">
                  <c:v>1208</c:v>
                </c:pt>
                <c:pt idx="31">
                  <c:v>1208</c:v>
                </c:pt>
                <c:pt idx="32">
                  <c:v>1208</c:v>
                </c:pt>
                <c:pt idx="33">
                  <c:v>1208</c:v>
                </c:pt>
                <c:pt idx="34">
                  <c:v>1208</c:v>
                </c:pt>
                <c:pt idx="35">
                  <c:v>1208</c:v>
                </c:pt>
                <c:pt idx="36">
                  <c:v>1208</c:v>
                </c:pt>
                <c:pt idx="37">
                  <c:v>1208</c:v>
                </c:pt>
                <c:pt idx="38">
                  <c:v>1208</c:v>
                </c:pt>
                <c:pt idx="39">
                  <c:v>1208</c:v>
                </c:pt>
                <c:pt idx="40">
                  <c:v>1208</c:v>
                </c:pt>
                <c:pt idx="41">
                  <c:v>1208</c:v>
                </c:pt>
                <c:pt idx="42">
                  <c:v>1208</c:v>
                </c:pt>
                <c:pt idx="43">
                  <c:v>1208</c:v>
                </c:pt>
                <c:pt idx="44">
                  <c:v>1208</c:v>
                </c:pt>
                <c:pt idx="45">
                  <c:v>1208</c:v>
                </c:pt>
                <c:pt idx="46">
                  <c:v>1208</c:v>
                </c:pt>
                <c:pt idx="47">
                  <c:v>1208</c:v>
                </c:pt>
                <c:pt idx="48">
                  <c:v>1208</c:v>
                </c:pt>
                <c:pt idx="49">
                  <c:v>1208</c:v>
                </c:pt>
                <c:pt idx="50">
                  <c:v>1208</c:v>
                </c:pt>
                <c:pt idx="51">
                  <c:v>1208</c:v>
                </c:pt>
                <c:pt idx="52">
                  <c:v>1208</c:v>
                </c:pt>
                <c:pt idx="53">
                  <c:v>1208</c:v>
                </c:pt>
                <c:pt idx="54">
                  <c:v>1208</c:v>
                </c:pt>
                <c:pt idx="55">
                  <c:v>1208</c:v>
                </c:pt>
                <c:pt idx="56">
                  <c:v>1208</c:v>
                </c:pt>
                <c:pt idx="57">
                  <c:v>1208</c:v>
                </c:pt>
                <c:pt idx="58">
                  <c:v>1208</c:v>
                </c:pt>
                <c:pt idx="59">
                  <c:v>1208</c:v>
                </c:pt>
                <c:pt idx="60">
                  <c:v>1208</c:v>
                </c:pt>
                <c:pt idx="61">
                  <c:v>1208</c:v>
                </c:pt>
                <c:pt idx="62">
                  <c:v>1208</c:v>
                </c:pt>
                <c:pt idx="63">
                  <c:v>1208</c:v>
                </c:pt>
                <c:pt idx="64">
                  <c:v>1208</c:v>
                </c:pt>
                <c:pt idx="65">
                  <c:v>1208</c:v>
                </c:pt>
                <c:pt idx="66">
                  <c:v>1208</c:v>
                </c:pt>
                <c:pt idx="67">
                  <c:v>1208</c:v>
                </c:pt>
                <c:pt idx="68">
                  <c:v>1208</c:v>
                </c:pt>
                <c:pt idx="69">
                  <c:v>1208</c:v>
                </c:pt>
                <c:pt idx="70">
                  <c:v>1208</c:v>
                </c:pt>
                <c:pt idx="71">
                  <c:v>1208</c:v>
                </c:pt>
                <c:pt idx="72">
                  <c:v>1208</c:v>
                </c:pt>
                <c:pt idx="73">
                  <c:v>1208</c:v>
                </c:pt>
                <c:pt idx="74">
                  <c:v>1208</c:v>
                </c:pt>
                <c:pt idx="75">
                  <c:v>1208</c:v>
                </c:pt>
                <c:pt idx="76">
                  <c:v>1208</c:v>
                </c:pt>
                <c:pt idx="77">
                  <c:v>1208</c:v>
                </c:pt>
                <c:pt idx="78">
                  <c:v>1208</c:v>
                </c:pt>
                <c:pt idx="79">
                  <c:v>1208</c:v>
                </c:pt>
                <c:pt idx="80">
                  <c:v>1208</c:v>
                </c:pt>
                <c:pt idx="81">
                  <c:v>1208</c:v>
                </c:pt>
                <c:pt idx="82">
                  <c:v>1208</c:v>
                </c:pt>
                <c:pt idx="83">
                  <c:v>1208</c:v>
                </c:pt>
                <c:pt idx="84">
                  <c:v>1208</c:v>
                </c:pt>
                <c:pt idx="85">
                  <c:v>1208</c:v>
                </c:pt>
                <c:pt idx="86">
                  <c:v>1208</c:v>
                </c:pt>
                <c:pt idx="87">
                  <c:v>1208</c:v>
                </c:pt>
                <c:pt idx="88">
                  <c:v>1208</c:v>
                </c:pt>
                <c:pt idx="89">
                  <c:v>1208</c:v>
                </c:pt>
                <c:pt idx="90">
                  <c:v>1208</c:v>
                </c:pt>
                <c:pt idx="91">
                  <c:v>1208</c:v>
                </c:pt>
                <c:pt idx="92">
                  <c:v>1208</c:v>
                </c:pt>
                <c:pt idx="93">
                  <c:v>12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1</c:v>
                </c:pt>
                <c:pt idx="1">
                  <c:v>27</c:v>
                </c:pt>
                <c:pt idx="2">
                  <c:v>28</c:v>
                </c:pt>
                <c:pt idx="3">
                  <c:v>34</c:v>
                </c:pt>
                <c:pt idx="4">
                  <c:v>32</c:v>
                </c:pt>
                <c:pt idx="5">
                  <c:v>37</c:v>
                </c:pt>
                <c:pt idx="6">
                  <c:v>33</c:v>
                </c:pt>
                <c:pt idx="7">
                  <c:v>40</c:v>
                </c:pt>
                <c:pt idx="8">
                  <c:v>40</c:v>
                </c:pt>
                <c:pt idx="9">
                  <c:v>40</c:v>
                </c:pt>
                <c:pt idx="10">
                  <c:v>38</c:v>
                </c:pt>
                <c:pt idx="11">
                  <c:v>41</c:v>
                </c:pt>
                <c:pt idx="12">
                  <c:v>43</c:v>
                </c:pt>
                <c:pt idx="13">
                  <c:v>47</c:v>
                </c:pt>
                <c:pt idx="14">
                  <c:v>50</c:v>
                </c:pt>
                <c:pt idx="15">
                  <c:v>48</c:v>
                </c:pt>
                <c:pt idx="16">
                  <c:v>50</c:v>
                </c:pt>
                <c:pt idx="17">
                  <c:v>50</c:v>
                </c:pt>
                <c:pt idx="18">
                  <c:v>48</c:v>
                </c:pt>
                <c:pt idx="19">
                  <c:v>45</c:v>
                </c:pt>
                <c:pt idx="20">
                  <c:v>45</c:v>
                </c:pt>
                <c:pt idx="21">
                  <c:v>48</c:v>
                </c:pt>
                <c:pt idx="22">
                  <c:v>48</c:v>
                </c:pt>
                <c:pt idx="23">
                  <c:v>50</c:v>
                </c:pt>
                <c:pt idx="24">
                  <c:v>52</c:v>
                </c:pt>
                <c:pt idx="25">
                  <c:v>51</c:v>
                </c:pt>
                <c:pt idx="26">
                  <c:v>48</c:v>
                </c:pt>
                <c:pt idx="27">
                  <c:v>48</c:v>
                </c:pt>
                <c:pt idx="28">
                  <c:v>48</c:v>
                </c:pt>
                <c:pt idx="29">
                  <c:v>48</c:v>
                </c:pt>
                <c:pt idx="30">
                  <c:v>49</c:v>
                </c:pt>
                <c:pt idx="31">
                  <c:v>50</c:v>
                </c:pt>
                <c:pt idx="32">
                  <c:v>50</c:v>
                </c:pt>
                <c:pt idx="33">
                  <c:v>48</c:v>
                </c:pt>
                <c:pt idx="34">
                  <c:v>48</c:v>
                </c:pt>
                <c:pt idx="35">
                  <c:v>48</c:v>
                </c:pt>
                <c:pt idx="36">
                  <c:v>50</c:v>
                </c:pt>
                <c:pt idx="37">
                  <c:v>60</c:v>
                </c:pt>
                <c:pt idx="38">
                  <c:v>45</c:v>
                </c:pt>
                <c:pt idx="39">
                  <c:v>49</c:v>
                </c:pt>
                <c:pt idx="40">
                  <c:v>51</c:v>
                </c:pt>
                <c:pt idx="41">
                  <c:v>55</c:v>
                </c:pt>
                <c:pt idx="42">
                  <c:v>59</c:v>
                </c:pt>
                <c:pt idx="43">
                  <c:v>55</c:v>
                </c:pt>
                <c:pt idx="44">
                  <c:v>52</c:v>
                </c:pt>
                <c:pt idx="45">
                  <c:v>53</c:v>
                </c:pt>
                <c:pt idx="46">
                  <c:v>54</c:v>
                </c:pt>
                <c:pt idx="47">
                  <c:v>56</c:v>
                </c:pt>
                <c:pt idx="48">
                  <c:v>56</c:v>
                </c:pt>
                <c:pt idx="49">
                  <c:v>60</c:v>
                </c:pt>
                <c:pt idx="50">
                  <c:v>60</c:v>
                </c:pt>
                <c:pt idx="51">
                  <c:v>56</c:v>
                </c:pt>
                <c:pt idx="52">
                  <c:v>64</c:v>
                </c:pt>
                <c:pt idx="53">
                  <c:v>60</c:v>
                </c:pt>
                <c:pt idx="54">
                  <c:v>61</c:v>
                </c:pt>
                <c:pt idx="55">
                  <c:v>64</c:v>
                </c:pt>
                <c:pt idx="56">
                  <c:v>61</c:v>
                </c:pt>
                <c:pt idx="57">
                  <c:v>63</c:v>
                </c:pt>
                <c:pt idx="58">
                  <c:v>65</c:v>
                </c:pt>
                <c:pt idx="59">
                  <c:v>72</c:v>
                </c:pt>
                <c:pt idx="60">
                  <c:v>77</c:v>
                </c:pt>
                <c:pt idx="61">
                  <c:v>76</c:v>
                </c:pt>
                <c:pt idx="62">
                  <c:v>79</c:v>
                </c:pt>
                <c:pt idx="63">
                  <c:v>74</c:v>
                </c:pt>
                <c:pt idx="64">
                  <c:v>76</c:v>
                </c:pt>
                <c:pt idx="65">
                  <c:v>73</c:v>
                </c:pt>
                <c:pt idx="66">
                  <c:v>72</c:v>
                </c:pt>
                <c:pt idx="67">
                  <c:v>74</c:v>
                </c:pt>
                <c:pt idx="68">
                  <c:v>73</c:v>
                </c:pt>
                <c:pt idx="69">
                  <c:v>73</c:v>
                </c:pt>
                <c:pt idx="70">
                  <c:v>74</c:v>
                </c:pt>
                <c:pt idx="71">
                  <c:v>71</c:v>
                </c:pt>
                <c:pt idx="72">
                  <c:v>72</c:v>
                </c:pt>
                <c:pt idx="73">
                  <c:v>81</c:v>
                </c:pt>
                <c:pt idx="74">
                  <c:v>75</c:v>
                </c:pt>
                <c:pt idx="75">
                  <c:v>71</c:v>
                </c:pt>
                <c:pt idx="76">
                  <c:v>67</c:v>
                </c:pt>
                <c:pt idx="77">
                  <c:v>67</c:v>
                </c:pt>
                <c:pt idx="78">
                  <c:v>63</c:v>
                </c:pt>
                <c:pt idx="79">
                  <c:v>67</c:v>
                </c:pt>
                <c:pt idx="80">
                  <c:v>64</c:v>
                </c:pt>
                <c:pt idx="81">
                  <c:v>59</c:v>
                </c:pt>
                <c:pt idx="82">
                  <c:v>64</c:v>
                </c:pt>
                <c:pt idx="83">
                  <c:v>64</c:v>
                </c:pt>
                <c:pt idx="84">
                  <c:v>66</c:v>
                </c:pt>
                <c:pt idx="85">
                  <c:v>59</c:v>
                </c:pt>
                <c:pt idx="86">
                  <c:v>58</c:v>
                </c:pt>
                <c:pt idx="87">
                  <c:v>65</c:v>
                </c:pt>
                <c:pt idx="88">
                  <c:v>67</c:v>
                </c:pt>
                <c:pt idx="89">
                  <c:v>58</c:v>
                </c:pt>
                <c:pt idx="90">
                  <c:v>49</c:v>
                </c:pt>
                <c:pt idx="91">
                  <c:v>52</c:v>
                </c:pt>
                <c:pt idx="92">
                  <c:v>52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70.736409767333996</c:v>
                </c:pt>
                <c:pt idx="71">
                  <c:v>69.312613906540349</c:v>
                </c:pt>
                <c:pt idx="72">
                  <c:v>67.850353201860614</c:v>
                </c:pt>
                <c:pt idx="73">
                  <c:v>66.354458614730177</c:v>
                </c:pt>
                <c:pt idx="74">
                  <c:v>64.82721993951364</c:v>
                </c:pt>
                <c:pt idx="75">
                  <c:v>63.262135080133078</c:v>
                </c:pt>
                <c:pt idx="76">
                  <c:v>61.696849856861363</c:v>
                </c:pt>
                <c:pt idx="77">
                  <c:v>60.130860097661554</c:v>
                </c:pt>
                <c:pt idx="78">
                  <c:v>58.525632411465622</c:v>
                </c:pt>
                <c:pt idx="79">
                  <c:v>56.893167825667966</c:v>
                </c:pt>
                <c:pt idx="80">
                  <c:v>55.218531134760568</c:v>
                </c:pt>
                <c:pt idx="81">
                  <c:v>53.510794764388066</c:v>
                </c:pt>
                <c:pt idx="82">
                  <c:v>51.816492393178159</c:v>
                </c:pt>
                <c:pt idx="83">
                  <c:v>50.129403877243234</c:v>
                </c:pt>
                <c:pt idx="84">
                  <c:v>48.474161073628409</c:v>
                </c:pt>
                <c:pt idx="85">
                  <c:v>46.842422586945844</c:v>
                </c:pt>
                <c:pt idx="86">
                  <c:v>45.231464916785036</c:v>
                </c:pt>
                <c:pt idx="87">
                  <c:v>43.642165161578262</c:v>
                </c:pt>
                <c:pt idx="88">
                  <c:v>42.07997242482022</c:v>
                </c:pt>
                <c:pt idx="89">
                  <c:v>40.555461158458129</c:v>
                </c:pt>
                <c:pt idx="90">
                  <c:v>39.075187696379736</c:v>
                </c:pt>
                <c:pt idx="91">
                  <c:v>37.643442093726776</c:v>
                </c:pt>
                <c:pt idx="92">
                  <c:v>36.253032240081339</c:v>
                </c:pt>
                <c:pt idx="93">
                  <c:v>34.897477489899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6CD-4DD3-8379-D0E186E6DABE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70.92110098861275</c:v>
                </c:pt>
                <c:pt idx="71">
                  <c:v>69.761124999351097</c:v>
                </c:pt>
                <c:pt idx="72">
                  <c:v>68.62601532248604</c:v>
                </c:pt>
                <c:pt idx="73">
                  <c:v>67.523963910962692</c:v>
                </c:pt>
                <c:pt idx="74">
                  <c:v>66.457243124756758</c:v>
                </c:pt>
                <c:pt idx="75">
                  <c:v>65.406796444797536</c:v>
                </c:pt>
                <c:pt idx="76">
                  <c:v>64.402571692516702</c:v>
                </c:pt>
                <c:pt idx="77">
                  <c:v>63.436755520270886</c:v>
                </c:pt>
                <c:pt idx="78">
                  <c:v>62.469604154046309</c:v>
                </c:pt>
                <c:pt idx="79">
                  <c:v>61.504925783068245</c:v>
                </c:pt>
                <c:pt idx="80">
                  <c:v>60.519928866369135</c:v>
                </c:pt>
                <c:pt idx="81">
                  <c:v>59.514702581948384</c:v>
                </c:pt>
                <c:pt idx="82">
                  <c:v>58.525718686336504</c:v>
                </c:pt>
                <c:pt idx="83">
                  <c:v>57.541180271331996</c:v>
                </c:pt>
                <c:pt idx="84">
                  <c:v>56.581655002497655</c:v>
                </c:pt>
                <c:pt idx="85">
                  <c:v>55.633985494012357</c:v>
                </c:pt>
                <c:pt idx="86">
                  <c:v>54.692745110494968</c:v>
                </c:pt>
                <c:pt idx="87">
                  <c:v>53.755222136349261</c:v>
                </c:pt>
                <c:pt idx="88">
                  <c:v>52.824168398303726</c:v>
                </c:pt>
                <c:pt idx="89">
                  <c:v>51.907837628208341</c:v>
                </c:pt>
                <c:pt idx="90">
                  <c:v>51.010528094144775</c:v>
                </c:pt>
                <c:pt idx="91">
                  <c:v>50.134779319154084</c:v>
                </c:pt>
                <c:pt idx="92">
                  <c:v>49.272765373309994</c:v>
                </c:pt>
                <c:pt idx="93">
                  <c:v>48.4169091826450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6CD-4DD3-8379-D0E186E6DABE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72.195887411869435</c:v>
                </c:pt>
                <c:pt idx="71">
                  <c:v>72.377566327523127</c:v>
                </c:pt>
                <c:pt idx="72">
                  <c:v>72.629908869448371</c:v>
                </c:pt>
                <c:pt idx="73">
                  <c:v>72.965960141480593</c:v>
                </c:pt>
                <c:pt idx="74">
                  <c:v>73.395804685122243</c:v>
                </c:pt>
                <c:pt idx="75">
                  <c:v>73.896269634678617</c:v>
                </c:pt>
                <c:pt idx="76">
                  <c:v>74.479460538028633</c:v>
                </c:pt>
                <c:pt idx="77">
                  <c:v>75.135284832212434</c:v>
                </c:pt>
                <c:pt idx="78">
                  <c:v>75.850939082116341</c:v>
                </c:pt>
                <c:pt idx="79">
                  <c:v>76.626414863904103</c:v>
                </c:pt>
                <c:pt idx="80">
                  <c:v>77.436228671365768</c:v>
                </c:pt>
                <c:pt idx="81">
                  <c:v>78.270668156726884</c:v>
                </c:pt>
                <c:pt idx="82">
                  <c:v>79.148194017099954</c:v>
                </c:pt>
                <c:pt idx="83">
                  <c:v>80.060589656919745</c:v>
                </c:pt>
                <c:pt idx="84">
                  <c:v>81.025223730007681</c:v>
                </c:pt>
                <c:pt idx="85">
                  <c:v>82.020196168700465</c:v>
                </c:pt>
                <c:pt idx="86">
                  <c:v>83.037710634898531</c:v>
                </c:pt>
                <c:pt idx="87">
                  <c:v>84.083886238995632</c:v>
                </c:pt>
                <c:pt idx="88">
                  <c:v>85.20532250415522</c:v>
                </c:pt>
                <c:pt idx="89">
                  <c:v>86.400143170495539</c:v>
                </c:pt>
                <c:pt idx="90">
                  <c:v>87.669637070426461</c:v>
                </c:pt>
                <c:pt idx="91">
                  <c:v>89.009047318589367</c:v>
                </c:pt>
                <c:pt idx="92">
                  <c:v>90.410951757217902</c:v>
                </c:pt>
                <c:pt idx="93">
                  <c:v>91.8654261021791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6CD-4DD3-8379-D0E186E6DABE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72.260859451661787</c:v>
                </c:pt>
                <c:pt idx="71">
                  <c:v>72.538942193292499</c:v>
                </c:pt>
                <c:pt idx="72">
                  <c:v>72.917824881552121</c:v>
                </c:pt>
                <c:pt idx="73">
                  <c:v>73.413758092529662</c:v>
                </c:pt>
                <c:pt idx="74">
                  <c:v>74.039256859809058</c:v>
                </c:pt>
                <c:pt idx="75">
                  <c:v>74.765631053257678</c:v>
                </c:pt>
                <c:pt idx="76">
                  <c:v>75.603244671440962</c:v>
                </c:pt>
                <c:pt idx="77">
                  <c:v>76.542096105811353</c:v>
                </c:pt>
                <c:pt idx="78">
                  <c:v>77.573968903797308</c:v>
                </c:pt>
                <c:pt idx="79">
                  <c:v>78.698353053398151</c:v>
                </c:pt>
                <c:pt idx="80">
                  <c:v>79.888107088088617</c:v>
                </c:pt>
                <c:pt idx="81">
                  <c:v>81.130814742876936</c:v>
                </c:pt>
                <c:pt idx="82">
                  <c:v>82.501383420248715</c:v>
                </c:pt>
                <c:pt idx="83">
                  <c:v>84.009397814006576</c:v>
                </c:pt>
                <c:pt idx="84">
                  <c:v>85.67232459408514</c:v>
                </c:pt>
                <c:pt idx="85">
                  <c:v>87.463686968467115</c:v>
                </c:pt>
                <c:pt idx="86">
                  <c:v>89.371841891824516</c:v>
                </c:pt>
                <c:pt idx="87">
                  <c:v>91.382159060467515</c:v>
                </c:pt>
                <c:pt idx="88">
                  <c:v>93.500186735937874</c:v>
                </c:pt>
                <c:pt idx="89">
                  <c:v>95.724865588546862</c:v>
                </c:pt>
                <c:pt idx="90">
                  <c:v>98.059140022488322</c:v>
                </c:pt>
                <c:pt idx="91">
                  <c:v>100.49912525482245</c:v>
                </c:pt>
                <c:pt idx="92">
                  <c:v>103.03774891402543</c:v>
                </c:pt>
                <c:pt idx="93">
                  <c:v>105.665342264698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6CD-4DD3-8379-D0E186E6DABE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6</c:v>
                </c:pt>
                <c:pt idx="1">
                  <c:v>46</c:v>
                </c:pt>
                <c:pt idx="2">
                  <c:v>46</c:v>
                </c:pt>
                <c:pt idx="3">
                  <c:v>46</c:v>
                </c:pt>
                <c:pt idx="4">
                  <c:v>46</c:v>
                </c:pt>
                <c:pt idx="5">
                  <c:v>46</c:v>
                </c:pt>
                <c:pt idx="6">
                  <c:v>46</c:v>
                </c:pt>
                <c:pt idx="7">
                  <c:v>46</c:v>
                </c:pt>
                <c:pt idx="8">
                  <c:v>46</c:v>
                </c:pt>
                <c:pt idx="9">
                  <c:v>46</c:v>
                </c:pt>
                <c:pt idx="10">
                  <c:v>46</c:v>
                </c:pt>
                <c:pt idx="11">
                  <c:v>46</c:v>
                </c:pt>
                <c:pt idx="12">
                  <c:v>46</c:v>
                </c:pt>
                <c:pt idx="13">
                  <c:v>46</c:v>
                </c:pt>
                <c:pt idx="14">
                  <c:v>46</c:v>
                </c:pt>
                <c:pt idx="15">
                  <c:v>46</c:v>
                </c:pt>
                <c:pt idx="16">
                  <c:v>46</c:v>
                </c:pt>
                <c:pt idx="17">
                  <c:v>46</c:v>
                </c:pt>
                <c:pt idx="18">
                  <c:v>46</c:v>
                </c:pt>
                <c:pt idx="19">
                  <c:v>46</c:v>
                </c:pt>
                <c:pt idx="20">
                  <c:v>46</c:v>
                </c:pt>
                <c:pt idx="21">
                  <c:v>46</c:v>
                </c:pt>
                <c:pt idx="22">
                  <c:v>46</c:v>
                </c:pt>
                <c:pt idx="23">
                  <c:v>46</c:v>
                </c:pt>
                <c:pt idx="24">
                  <c:v>46</c:v>
                </c:pt>
                <c:pt idx="25">
                  <c:v>46</c:v>
                </c:pt>
                <c:pt idx="26">
                  <c:v>46</c:v>
                </c:pt>
                <c:pt idx="27">
                  <c:v>46</c:v>
                </c:pt>
                <c:pt idx="28">
                  <c:v>46</c:v>
                </c:pt>
                <c:pt idx="29">
                  <c:v>46</c:v>
                </c:pt>
                <c:pt idx="30">
                  <c:v>46</c:v>
                </c:pt>
                <c:pt idx="31">
                  <c:v>46</c:v>
                </c:pt>
                <c:pt idx="32">
                  <c:v>46</c:v>
                </c:pt>
                <c:pt idx="33">
                  <c:v>46</c:v>
                </c:pt>
                <c:pt idx="34">
                  <c:v>46</c:v>
                </c:pt>
                <c:pt idx="35">
                  <c:v>46</c:v>
                </c:pt>
                <c:pt idx="36">
                  <c:v>46</c:v>
                </c:pt>
                <c:pt idx="37">
                  <c:v>46</c:v>
                </c:pt>
                <c:pt idx="38">
                  <c:v>46</c:v>
                </c:pt>
                <c:pt idx="39">
                  <c:v>46</c:v>
                </c:pt>
                <c:pt idx="40">
                  <c:v>46</c:v>
                </c:pt>
                <c:pt idx="41">
                  <c:v>46</c:v>
                </c:pt>
                <c:pt idx="42">
                  <c:v>46</c:v>
                </c:pt>
                <c:pt idx="43">
                  <c:v>46</c:v>
                </c:pt>
                <c:pt idx="44">
                  <c:v>46</c:v>
                </c:pt>
                <c:pt idx="45">
                  <c:v>46</c:v>
                </c:pt>
                <c:pt idx="46">
                  <c:v>46</c:v>
                </c:pt>
                <c:pt idx="47">
                  <c:v>46</c:v>
                </c:pt>
                <c:pt idx="48">
                  <c:v>46</c:v>
                </c:pt>
                <c:pt idx="49">
                  <c:v>46</c:v>
                </c:pt>
                <c:pt idx="50">
                  <c:v>46</c:v>
                </c:pt>
                <c:pt idx="51">
                  <c:v>46</c:v>
                </c:pt>
                <c:pt idx="52">
                  <c:v>46</c:v>
                </c:pt>
                <c:pt idx="53">
                  <c:v>46</c:v>
                </c:pt>
                <c:pt idx="54">
                  <c:v>46</c:v>
                </c:pt>
                <c:pt idx="55">
                  <c:v>46</c:v>
                </c:pt>
                <c:pt idx="56">
                  <c:v>46</c:v>
                </c:pt>
                <c:pt idx="57">
                  <c:v>46</c:v>
                </c:pt>
                <c:pt idx="58">
                  <c:v>46</c:v>
                </c:pt>
                <c:pt idx="59">
                  <c:v>46</c:v>
                </c:pt>
                <c:pt idx="60">
                  <c:v>46</c:v>
                </c:pt>
                <c:pt idx="61">
                  <c:v>46</c:v>
                </c:pt>
                <c:pt idx="62">
                  <c:v>46</c:v>
                </c:pt>
                <c:pt idx="63">
                  <c:v>46</c:v>
                </c:pt>
                <c:pt idx="64">
                  <c:v>46</c:v>
                </c:pt>
                <c:pt idx="65">
                  <c:v>46</c:v>
                </c:pt>
                <c:pt idx="66">
                  <c:v>46</c:v>
                </c:pt>
                <c:pt idx="67">
                  <c:v>46</c:v>
                </c:pt>
                <c:pt idx="68">
                  <c:v>46</c:v>
                </c:pt>
                <c:pt idx="69">
                  <c:v>46</c:v>
                </c:pt>
                <c:pt idx="70">
                  <c:v>46</c:v>
                </c:pt>
                <c:pt idx="71">
                  <c:v>46</c:v>
                </c:pt>
                <c:pt idx="72">
                  <c:v>46</c:v>
                </c:pt>
                <c:pt idx="73">
                  <c:v>46</c:v>
                </c:pt>
                <c:pt idx="74">
                  <c:v>46</c:v>
                </c:pt>
                <c:pt idx="75">
                  <c:v>46</c:v>
                </c:pt>
                <c:pt idx="76">
                  <c:v>46</c:v>
                </c:pt>
                <c:pt idx="77">
                  <c:v>46</c:v>
                </c:pt>
                <c:pt idx="78">
                  <c:v>46</c:v>
                </c:pt>
                <c:pt idx="79">
                  <c:v>46</c:v>
                </c:pt>
                <c:pt idx="80">
                  <c:v>46</c:v>
                </c:pt>
                <c:pt idx="81">
                  <c:v>46</c:v>
                </c:pt>
                <c:pt idx="82">
                  <c:v>46</c:v>
                </c:pt>
                <c:pt idx="83">
                  <c:v>46</c:v>
                </c:pt>
                <c:pt idx="84">
                  <c:v>46</c:v>
                </c:pt>
                <c:pt idx="85">
                  <c:v>46</c:v>
                </c:pt>
                <c:pt idx="86">
                  <c:v>46</c:v>
                </c:pt>
                <c:pt idx="87">
                  <c:v>46</c:v>
                </c:pt>
                <c:pt idx="88">
                  <c:v>46</c:v>
                </c:pt>
                <c:pt idx="89">
                  <c:v>46</c:v>
                </c:pt>
                <c:pt idx="90">
                  <c:v>46</c:v>
                </c:pt>
                <c:pt idx="91">
                  <c:v>46</c:v>
                </c:pt>
                <c:pt idx="92">
                  <c:v>46</c:v>
                </c:pt>
                <c:pt idx="93">
                  <c:v>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2</c:v>
                </c:pt>
                <c:pt idx="1">
                  <c:v>35</c:v>
                </c:pt>
                <c:pt idx="2">
                  <c:v>36</c:v>
                </c:pt>
                <c:pt idx="3">
                  <c:v>37</c:v>
                </c:pt>
                <c:pt idx="4">
                  <c:v>35</c:v>
                </c:pt>
                <c:pt idx="5">
                  <c:v>35</c:v>
                </c:pt>
                <c:pt idx="6">
                  <c:v>33</c:v>
                </c:pt>
                <c:pt idx="7">
                  <c:v>29</c:v>
                </c:pt>
                <c:pt idx="8">
                  <c:v>31</c:v>
                </c:pt>
                <c:pt idx="9">
                  <c:v>34</c:v>
                </c:pt>
                <c:pt idx="10">
                  <c:v>29</c:v>
                </c:pt>
                <c:pt idx="11">
                  <c:v>30</c:v>
                </c:pt>
                <c:pt idx="12">
                  <c:v>31</c:v>
                </c:pt>
                <c:pt idx="13">
                  <c:v>35</c:v>
                </c:pt>
                <c:pt idx="14">
                  <c:v>37</c:v>
                </c:pt>
                <c:pt idx="15">
                  <c:v>36</c:v>
                </c:pt>
                <c:pt idx="16">
                  <c:v>35</c:v>
                </c:pt>
                <c:pt idx="17">
                  <c:v>32</c:v>
                </c:pt>
                <c:pt idx="18">
                  <c:v>28</c:v>
                </c:pt>
                <c:pt idx="19">
                  <c:v>26</c:v>
                </c:pt>
                <c:pt idx="20">
                  <c:v>24</c:v>
                </c:pt>
                <c:pt idx="21">
                  <c:v>25</c:v>
                </c:pt>
                <c:pt idx="22">
                  <c:v>20</c:v>
                </c:pt>
                <c:pt idx="23">
                  <c:v>22</c:v>
                </c:pt>
                <c:pt idx="24">
                  <c:v>27</c:v>
                </c:pt>
                <c:pt idx="25">
                  <c:v>22</c:v>
                </c:pt>
                <c:pt idx="26">
                  <c:v>24</c:v>
                </c:pt>
                <c:pt idx="27">
                  <c:v>20</c:v>
                </c:pt>
                <c:pt idx="28">
                  <c:v>23</c:v>
                </c:pt>
                <c:pt idx="29">
                  <c:v>21</c:v>
                </c:pt>
                <c:pt idx="30">
                  <c:v>20</c:v>
                </c:pt>
                <c:pt idx="31">
                  <c:v>23</c:v>
                </c:pt>
                <c:pt idx="32">
                  <c:v>25</c:v>
                </c:pt>
                <c:pt idx="33">
                  <c:v>23</c:v>
                </c:pt>
                <c:pt idx="34">
                  <c:v>20</c:v>
                </c:pt>
                <c:pt idx="35">
                  <c:v>17</c:v>
                </c:pt>
                <c:pt idx="36">
                  <c:v>16</c:v>
                </c:pt>
                <c:pt idx="37">
                  <c:v>19</c:v>
                </c:pt>
                <c:pt idx="38">
                  <c:v>23</c:v>
                </c:pt>
                <c:pt idx="39">
                  <c:v>27</c:v>
                </c:pt>
                <c:pt idx="40">
                  <c:v>27</c:v>
                </c:pt>
                <c:pt idx="41">
                  <c:v>26</c:v>
                </c:pt>
                <c:pt idx="42">
                  <c:v>23</c:v>
                </c:pt>
                <c:pt idx="43">
                  <c:v>20</c:v>
                </c:pt>
                <c:pt idx="44">
                  <c:v>22</c:v>
                </c:pt>
                <c:pt idx="45">
                  <c:v>24</c:v>
                </c:pt>
                <c:pt idx="46">
                  <c:v>25</c:v>
                </c:pt>
                <c:pt idx="47">
                  <c:v>35</c:v>
                </c:pt>
                <c:pt idx="48">
                  <c:v>33</c:v>
                </c:pt>
                <c:pt idx="49">
                  <c:v>30</c:v>
                </c:pt>
                <c:pt idx="50">
                  <c:v>28</c:v>
                </c:pt>
                <c:pt idx="51">
                  <c:v>32</c:v>
                </c:pt>
                <c:pt idx="52">
                  <c:v>27</c:v>
                </c:pt>
                <c:pt idx="53">
                  <c:v>29</c:v>
                </c:pt>
                <c:pt idx="54">
                  <c:v>29</c:v>
                </c:pt>
                <c:pt idx="55">
                  <c:v>35</c:v>
                </c:pt>
                <c:pt idx="56">
                  <c:v>36</c:v>
                </c:pt>
                <c:pt idx="57">
                  <c:v>37</c:v>
                </c:pt>
                <c:pt idx="58">
                  <c:v>36</c:v>
                </c:pt>
                <c:pt idx="59">
                  <c:v>36</c:v>
                </c:pt>
                <c:pt idx="60">
                  <c:v>41</c:v>
                </c:pt>
                <c:pt idx="61">
                  <c:v>38</c:v>
                </c:pt>
                <c:pt idx="62">
                  <c:v>43</c:v>
                </c:pt>
                <c:pt idx="63">
                  <c:v>41</c:v>
                </c:pt>
                <c:pt idx="64">
                  <c:v>40</c:v>
                </c:pt>
                <c:pt idx="65">
                  <c:v>38</c:v>
                </c:pt>
                <c:pt idx="66">
                  <c:v>52</c:v>
                </c:pt>
                <c:pt idx="67">
                  <c:v>48</c:v>
                </c:pt>
                <c:pt idx="68">
                  <c:v>51</c:v>
                </c:pt>
                <c:pt idx="69">
                  <c:v>46</c:v>
                </c:pt>
                <c:pt idx="70">
                  <c:v>44</c:v>
                </c:pt>
                <c:pt idx="71">
                  <c:v>41</c:v>
                </c:pt>
                <c:pt idx="72">
                  <c:v>40</c:v>
                </c:pt>
                <c:pt idx="73">
                  <c:v>44</c:v>
                </c:pt>
                <c:pt idx="74">
                  <c:v>47</c:v>
                </c:pt>
                <c:pt idx="75">
                  <c:v>47</c:v>
                </c:pt>
                <c:pt idx="76">
                  <c:v>51</c:v>
                </c:pt>
                <c:pt idx="77">
                  <c:v>49</c:v>
                </c:pt>
                <c:pt idx="78">
                  <c:v>45</c:v>
                </c:pt>
                <c:pt idx="79">
                  <c:v>47</c:v>
                </c:pt>
                <c:pt idx="80">
                  <c:v>45</c:v>
                </c:pt>
                <c:pt idx="81">
                  <c:v>43</c:v>
                </c:pt>
                <c:pt idx="82">
                  <c:v>43</c:v>
                </c:pt>
                <c:pt idx="83">
                  <c:v>44</c:v>
                </c:pt>
                <c:pt idx="84">
                  <c:v>35</c:v>
                </c:pt>
                <c:pt idx="85">
                  <c:v>36</c:v>
                </c:pt>
                <c:pt idx="86">
                  <c:v>37</c:v>
                </c:pt>
                <c:pt idx="87">
                  <c:v>40</c:v>
                </c:pt>
                <c:pt idx="88">
                  <c:v>43</c:v>
                </c:pt>
                <c:pt idx="89">
                  <c:v>31</c:v>
                </c:pt>
                <c:pt idx="90">
                  <c:v>31</c:v>
                </c:pt>
                <c:pt idx="91">
                  <c:v>30</c:v>
                </c:pt>
                <c:pt idx="92">
                  <c:v>3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40.306101028880306</c:v>
                </c:pt>
                <c:pt idx="71">
                  <c:v>39.488844810332139</c:v>
                </c:pt>
                <c:pt idx="72">
                  <c:v>38.650186062031452</c:v>
                </c:pt>
                <c:pt idx="73">
                  <c:v>37.793041701889578</c:v>
                </c:pt>
                <c:pt idx="74">
                  <c:v>36.919213672792601</c:v>
                </c:pt>
                <c:pt idx="75">
                  <c:v>36.024352148348783</c:v>
                </c:pt>
                <c:pt idx="76">
                  <c:v>35.129533804016717</c:v>
                </c:pt>
                <c:pt idx="77">
                  <c:v>34.235141052106144</c:v>
                </c:pt>
                <c:pt idx="78">
                  <c:v>33.318617596412963</c:v>
                </c:pt>
                <c:pt idx="79">
                  <c:v>32.387357261942832</c:v>
                </c:pt>
                <c:pt idx="80">
                  <c:v>31.432457991226954</c:v>
                </c:pt>
                <c:pt idx="81">
                  <c:v>30.4588560742841</c:v>
                </c:pt>
                <c:pt idx="82">
                  <c:v>29.493167380108233</c:v>
                </c:pt>
                <c:pt idx="83">
                  <c:v>28.531724832727356</c:v>
                </c:pt>
                <c:pt idx="84">
                  <c:v>27.588768802558889</c:v>
                </c:pt>
                <c:pt idx="85">
                  <c:v>26.659459995438361</c:v>
                </c:pt>
                <c:pt idx="86">
                  <c:v>25.742269176545047</c:v>
                </c:pt>
                <c:pt idx="87">
                  <c:v>24.837660882790011</c:v>
                </c:pt>
                <c:pt idx="88">
                  <c:v>23.94856168432969</c:v>
                </c:pt>
                <c:pt idx="89">
                  <c:v>23.081093452717695</c:v>
                </c:pt>
                <c:pt idx="90">
                  <c:v>22.23894648324621</c:v>
                </c:pt>
                <c:pt idx="91">
                  <c:v>21.424644450032719</c:v>
                </c:pt>
                <c:pt idx="92">
                  <c:v>20.633986606152771</c:v>
                </c:pt>
                <c:pt idx="93">
                  <c:v>19.8631849824581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10-4D34-AA39-FEFBA0D267A4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40.41080462052777</c:v>
                </c:pt>
                <c:pt idx="71">
                  <c:v>39.743157115627803</c:v>
                </c:pt>
                <c:pt idx="72">
                  <c:v>39.090010942168966</c:v>
                </c:pt>
                <c:pt idx="73">
                  <c:v>38.456239122163097</c:v>
                </c:pt>
                <c:pt idx="74">
                  <c:v>37.843608790663808</c:v>
                </c:pt>
                <c:pt idx="75">
                  <c:v>37.240679852297774</c:v>
                </c:pt>
                <c:pt idx="76">
                  <c:v>36.664185410412074</c:v>
                </c:pt>
                <c:pt idx="77">
                  <c:v>36.110405034088302</c:v>
                </c:pt>
                <c:pt idx="78">
                  <c:v>35.556079308363515</c:v>
                </c:pt>
                <c:pt idx="79">
                  <c:v>35.003940024584971</c:v>
                </c:pt>
                <c:pt idx="80">
                  <c:v>34.440611594396231</c:v>
                </c:pt>
                <c:pt idx="81">
                  <c:v>33.865928190237142</c:v>
                </c:pt>
                <c:pt idx="82">
                  <c:v>33.300800043861443</c:v>
                </c:pt>
                <c:pt idx="83">
                  <c:v>32.738366409891952</c:v>
                </c:pt>
                <c:pt idx="84">
                  <c:v>32.190559117805698</c:v>
                </c:pt>
                <c:pt idx="85">
                  <c:v>31.64980688899421</c:v>
                </c:pt>
                <c:pt idx="86">
                  <c:v>31.113041554684678</c:v>
                </c:pt>
                <c:pt idx="87">
                  <c:v>30.578681088660915</c:v>
                </c:pt>
                <c:pt idx="88">
                  <c:v>30.048132444337234</c:v>
                </c:pt>
                <c:pt idx="89">
                  <c:v>29.526186012880181</c:v>
                </c:pt>
                <c:pt idx="90">
                  <c:v>29.015255054259264</c:v>
                </c:pt>
                <c:pt idx="91">
                  <c:v>28.516858841434264</c:v>
                </c:pt>
                <c:pt idx="92">
                  <c:v>28.026442589239416</c:v>
                </c:pt>
                <c:pt idx="93">
                  <c:v>27.5395883532991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10-4D34-AA39-FEFBA0D267A4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41.155802890996831</c:v>
                </c:pt>
                <c:pt idx="71">
                  <c:v>41.268582569246959</c:v>
                </c:pt>
                <c:pt idx="72">
                  <c:v>41.419240907846415</c:v>
                </c:pt>
                <c:pt idx="73">
                  <c:v>41.615231050229696</c:v>
                </c:pt>
                <c:pt idx="74">
                  <c:v>41.862750297741314</c:v>
                </c:pt>
                <c:pt idx="75">
                  <c:v>42.14866238989724</c:v>
                </c:pt>
                <c:pt idx="76">
                  <c:v>42.479491655520803</c:v>
                </c:pt>
                <c:pt idx="77">
                  <c:v>42.85037618033337</c:v>
                </c:pt>
                <c:pt idx="78">
                  <c:v>43.253719625661248</c:v>
                </c:pt>
                <c:pt idx="79">
                  <c:v>43.690227036561083</c:v>
                </c:pt>
                <c:pt idx="80">
                  <c:v>44.145228005940567</c:v>
                </c:pt>
                <c:pt idx="81">
                  <c:v>44.613197265928072</c:v>
                </c:pt>
                <c:pt idx="82">
                  <c:v>45.104823990764032</c:v>
                </c:pt>
                <c:pt idx="83">
                  <c:v>45.615463509628455</c:v>
                </c:pt>
                <c:pt idx="84">
                  <c:v>46.155210278953206</c:v>
                </c:pt>
                <c:pt idx="85">
                  <c:v>46.711500246741892</c:v>
                </c:pt>
                <c:pt idx="86">
                  <c:v>47.280018777564536</c:v>
                </c:pt>
                <c:pt idx="87">
                  <c:v>47.864590900070354</c:v>
                </c:pt>
                <c:pt idx="88">
                  <c:v>48.49270207853003</c:v>
                </c:pt>
                <c:pt idx="89">
                  <c:v>49.163194594942674</c:v>
                </c:pt>
                <c:pt idx="90">
                  <c:v>49.876793988354663</c:v>
                </c:pt>
                <c:pt idx="91">
                  <c:v>50.630777972727522</c:v>
                </c:pt>
                <c:pt idx="92">
                  <c:v>51.420932822453523</c:v>
                </c:pt>
                <c:pt idx="93">
                  <c:v>52.2415133502221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10-4D34-AA39-FEFBA0D267A4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41.191963800021533</c:v>
                </c:pt>
                <c:pt idx="71">
                  <c:v>41.358398096349369</c:v>
                </c:pt>
                <c:pt idx="72">
                  <c:v>41.579483756211857</c:v>
                </c:pt>
                <c:pt idx="73">
                  <c:v>41.864457964161971</c:v>
                </c:pt>
                <c:pt idx="74">
                  <c:v>42.22087073885659</c:v>
                </c:pt>
                <c:pt idx="75">
                  <c:v>42.632515125124499</c:v>
                </c:pt>
                <c:pt idx="76">
                  <c:v>43.104946173211829</c:v>
                </c:pt>
                <c:pt idx="77">
                  <c:v>43.633352590526428</c:v>
                </c:pt>
                <c:pt idx="78">
                  <c:v>44.212690974379619</c:v>
                </c:pt>
                <c:pt idx="79">
                  <c:v>44.843387205374519</c:v>
                </c:pt>
                <c:pt idx="80">
                  <c:v>45.509848120225229</c:v>
                </c:pt>
                <c:pt idx="81">
                  <c:v>46.205043555957289</c:v>
                </c:pt>
                <c:pt idx="82">
                  <c:v>46.973126145581709</c:v>
                </c:pt>
                <c:pt idx="83">
                  <c:v>47.819952014978441</c:v>
                </c:pt>
                <c:pt idx="84">
                  <c:v>48.755626916370062</c:v>
                </c:pt>
                <c:pt idx="85">
                  <c:v>49.764895467948804</c:v>
                </c:pt>
                <c:pt idx="86">
                  <c:v>50.841181681642908</c:v>
                </c:pt>
                <c:pt idx="87">
                  <c:v>51.976067671048639</c:v>
                </c:pt>
                <c:pt idx="88">
                  <c:v>53.172752914430944</c:v>
                </c:pt>
                <c:pt idx="89">
                  <c:v>54.430525305094605</c:v>
                </c:pt>
                <c:pt idx="90">
                  <c:v>55.751076327724078</c:v>
                </c:pt>
                <c:pt idx="91">
                  <c:v>57.132185499852568</c:v>
                </c:pt>
                <c:pt idx="92">
                  <c:v>58.569844005171817</c:v>
                </c:pt>
                <c:pt idx="93">
                  <c:v>60.0584534304934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10-4D34-AA39-FEFBA0D267A4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5</c:v>
                </c:pt>
                <c:pt idx="1">
                  <c:v>55</c:v>
                </c:pt>
                <c:pt idx="2">
                  <c:v>55</c:v>
                </c:pt>
                <c:pt idx="3">
                  <c:v>55</c:v>
                </c:pt>
                <c:pt idx="4">
                  <c:v>55</c:v>
                </c:pt>
                <c:pt idx="5">
                  <c:v>55</c:v>
                </c:pt>
                <c:pt idx="6">
                  <c:v>55</c:v>
                </c:pt>
                <c:pt idx="7">
                  <c:v>55</c:v>
                </c:pt>
                <c:pt idx="8">
                  <c:v>55</c:v>
                </c:pt>
                <c:pt idx="9">
                  <c:v>55</c:v>
                </c:pt>
                <c:pt idx="10">
                  <c:v>55</c:v>
                </c:pt>
                <c:pt idx="11">
                  <c:v>55</c:v>
                </c:pt>
                <c:pt idx="12">
                  <c:v>55</c:v>
                </c:pt>
                <c:pt idx="13">
                  <c:v>55</c:v>
                </c:pt>
                <c:pt idx="14">
                  <c:v>55</c:v>
                </c:pt>
                <c:pt idx="15">
                  <c:v>55</c:v>
                </c:pt>
                <c:pt idx="16">
                  <c:v>55</c:v>
                </c:pt>
                <c:pt idx="17">
                  <c:v>55</c:v>
                </c:pt>
                <c:pt idx="18">
                  <c:v>55</c:v>
                </c:pt>
                <c:pt idx="19">
                  <c:v>55</c:v>
                </c:pt>
                <c:pt idx="20">
                  <c:v>55</c:v>
                </c:pt>
                <c:pt idx="21">
                  <c:v>55</c:v>
                </c:pt>
                <c:pt idx="22">
                  <c:v>55</c:v>
                </c:pt>
                <c:pt idx="23">
                  <c:v>55</c:v>
                </c:pt>
                <c:pt idx="24">
                  <c:v>55</c:v>
                </c:pt>
                <c:pt idx="25">
                  <c:v>55</c:v>
                </c:pt>
                <c:pt idx="26">
                  <c:v>55</c:v>
                </c:pt>
                <c:pt idx="27">
                  <c:v>55</c:v>
                </c:pt>
                <c:pt idx="28">
                  <c:v>55</c:v>
                </c:pt>
                <c:pt idx="29">
                  <c:v>55</c:v>
                </c:pt>
                <c:pt idx="30">
                  <c:v>55</c:v>
                </c:pt>
                <c:pt idx="31">
                  <c:v>55</c:v>
                </c:pt>
                <c:pt idx="32">
                  <c:v>55</c:v>
                </c:pt>
                <c:pt idx="33">
                  <c:v>55</c:v>
                </c:pt>
                <c:pt idx="34">
                  <c:v>55</c:v>
                </c:pt>
                <c:pt idx="35">
                  <c:v>55</c:v>
                </c:pt>
                <c:pt idx="36">
                  <c:v>55</c:v>
                </c:pt>
                <c:pt idx="37">
                  <c:v>55</c:v>
                </c:pt>
                <c:pt idx="38">
                  <c:v>55</c:v>
                </c:pt>
                <c:pt idx="39">
                  <c:v>55</c:v>
                </c:pt>
                <c:pt idx="40">
                  <c:v>55</c:v>
                </c:pt>
                <c:pt idx="41">
                  <c:v>55</c:v>
                </c:pt>
                <c:pt idx="42">
                  <c:v>55</c:v>
                </c:pt>
                <c:pt idx="43">
                  <c:v>55</c:v>
                </c:pt>
                <c:pt idx="44">
                  <c:v>55</c:v>
                </c:pt>
                <c:pt idx="45">
                  <c:v>55</c:v>
                </c:pt>
                <c:pt idx="46">
                  <c:v>55</c:v>
                </c:pt>
                <c:pt idx="47">
                  <c:v>55</c:v>
                </c:pt>
                <c:pt idx="48">
                  <c:v>55</c:v>
                </c:pt>
                <c:pt idx="49">
                  <c:v>55</c:v>
                </c:pt>
                <c:pt idx="50">
                  <c:v>55</c:v>
                </c:pt>
                <c:pt idx="51">
                  <c:v>55</c:v>
                </c:pt>
                <c:pt idx="52">
                  <c:v>55</c:v>
                </c:pt>
                <c:pt idx="53">
                  <c:v>55</c:v>
                </c:pt>
                <c:pt idx="54">
                  <c:v>55</c:v>
                </c:pt>
                <c:pt idx="55">
                  <c:v>55</c:v>
                </c:pt>
                <c:pt idx="56">
                  <c:v>55</c:v>
                </c:pt>
                <c:pt idx="57">
                  <c:v>55</c:v>
                </c:pt>
                <c:pt idx="58">
                  <c:v>55</c:v>
                </c:pt>
                <c:pt idx="59">
                  <c:v>55</c:v>
                </c:pt>
                <c:pt idx="60">
                  <c:v>55</c:v>
                </c:pt>
                <c:pt idx="61">
                  <c:v>55</c:v>
                </c:pt>
                <c:pt idx="62">
                  <c:v>55</c:v>
                </c:pt>
                <c:pt idx="63">
                  <c:v>55</c:v>
                </c:pt>
                <c:pt idx="64">
                  <c:v>55</c:v>
                </c:pt>
                <c:pt idx="65">
                  <c:v>55</c:v>
                </c:pt>
                <c:pt idx="66">
                  <c:v>55</c:v>
                </c:pt>
                <c:pt idx="67">
                  <c:v>55</c:v>
                </c:pt>
                <c:pt idx="68">
                  <c:v>55</c:v>
                </c:pt>
                <c:pt idx="69">
                  <c:v>55</c:v>
                </c:pt>
                <c:pt idx="70">
                  <c:v>55</c:v>
                </c:pt>
                <c:pt idx="71">
                  <c:v>55</c:v>
                </c:pt>
                <c:pt idx="72">
                  <c:v>55</c:v>
                </c:pt>
                <c:pt idx="73">
                  <c:v>55</c:v>
                </c:pt>
                <c:pt idx="74">
                  <c:v>55</c:v>
                </c:pt>
                <c:pt idx="75">
                  <c:v>55</c:v>
                </c:pt>
                <c:pt idx="76">
                  <c:v>55</c:v>
                </c:pt>
                <c:pt idx="77">
                  <c:v>55</c:v>
                </c:pt>
                <c:pt idx="78">
                  <c:v>55</c:v>
                </c:pt>
                <c:pt idx="79">
                  <c:v>55</c:v>
                </c:pt>
                <c:pt idx="80">
                  <c:v>55</c:v>
                </c:pt>
                <c:pt idx="81">
                  <c:v>55</c:v>
                </c:pt>
                <c:pt idx="82">
                  <c:v>55</c:v>
                </c:pt>
                <c:pt idx="83">
                  <c:v>55</c:v>
                </c:pt>
                <c:pt idx="84">
                  <c:v>55</c:v>
                </c:pt>
                <c:pt idx="85">
                  <c:v>55</c:v>
                </c:pt>
                <c:pt idx="86">
                  <c:v>55</c:v>
                </c:pt>
                <c:pt idx="87">
                  <c:v>55</c:v>
                </c:pt>
                <c:pt idx="88">
                  <c:v>55</c:v>
                </c:pt>
                <c:pt idx="89">
                  <c:v>55</c:v>
                </c:pt>
                <c:pt idx="90">
                  <c:v>55</c:v>
                </c:pt>
                <c:pt idx="91">
                  <c:v>55</c:v>
                </c:pt>
                <c:pt idx="92">
                  <c:v>55</c:v>
                </c:pt>
                <c:pt idx="93">
                  <c:v>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23</c:v>
                </c:pt>
                <c:pt idx="1">
                  <c:v>128</c:v>
                </c:pt>
                <c:pt idx="2">
                  <c:v>129</c:v>
                </c:pt>
                <c:pt idx="3">
                  <c:v>147</c:v>
                </c:pt>
                <c:pt idx="4">
                  <c:v>161</c:v>
                </c:pt>
                <c:pt idx="5">
                  <c:v>159</c:v>
                </c:pt>
                <c:pt idx="6">
                  <c:v>155</c:v>
                </c:pt>
                <c:pt idx="7">
                  <c:v>153</c:v>
                </c:pt>
                <c:pt idx="8">
                  <c:v>158</c:v>
                </c:pt>
                <c:pt idx="9">
                  <c:v>154</c:v>
                </c:pt>
                <c:pt idx="10">
                  <c:v>165</c:v>
                </c:pt>
                <c:pt idx="11">
                  <c:v>166</c:v>
                </c:pt>
                <c:pt idx="12">
                  <c:v>167</c:v>
                </c:pt>
                <c:pt idx="13">
                  <c:v>170</c:v>
                </c:pt>
                <c:pt idx="14">
                  <c:v>164</c:v>
                </c:pt>
                <c:pt idx="15">
                  <c:v>174</c:v>
                </c:pt>
                <c:pt idx="16">
                  <c:v>172</c:v>
                </c:pt>
                <c:pt idx="17">
                  <c:v>178</c:v>
                </c:pt>
                <c:pt idx="18">
                  <c:v>173</c:v>
                </c:pt>
                <c:pt idx="19">
                  <c:v>170</c:v>
                </c:pt>
                <c:pt idx="20">
                  <c:v>165</c:v>
                </c:pt>
                <c:pt idx="21">
                  <c:v>158</c:v>
                </c:pt>
                <c:pt idx="22">
                  <c:v>156</c:v>
                </c:pt>
                <c:pt idx="23">
                  <c:v>149</c:v>
                </c:pt>
                <c:pt idx="24">
                  <c:v>148</c:v>
                </c:pt>
                <c:pt idx="25">
                  <c:v>157</c:v>
                </c:pt>
                <c:pt idx="26">
                  <c:v>148</c:v>
                </c:pt>
                <c:pt idx="27">
                  <c:v>142</c:v>
                </c:pt>
                <c:pt idx="28">
                  <c:v>139</c:v>
                </c:pt>
                <c:pt idx="29">
                  <c:v>138</c:v>
                </c:pt>
                <c:pt idx="30">
                  <c:v>133</c:v>
                </c:pt>
                <c:pt idx="31">
                  <c:v>141</c:v>
                </c:pt>
                <c:pt idx="32">
                  <c:v>139</c:v>
                </c:pt>
                <c:pt idx="33">
                  <c:v>125</c:v>
                </c:pt>
                <c:pt idx="34">
                  <c:v>130</c:v>
                </c:pt>
                <c:pt idx="35">
                  <c:v>136</c:v>
                </c:pt>
                <c:pt idx="36">
                  <c:v>130</c:v>
                </c:pt>
                <c:pt idx="37">
                  <c:v>137</c:v>
                </c:pt>
                <c:pt idx="38">
                  <c:v>132</c:v>
                </c:pt>
                <c:pt idx="39">
                  <c:v>126</c:v>
                </c:pt>
                <c:pt idx="40">
                  <c:v>124</c:v>
                </c:pt>
                <c:pt idx="41">
                  <c:v>133</c:v>
                </c:pt>
                <c:pt idx="42">
                  <c:v>130</c:v>
                </c:pt>
                <c:pt idx="43">
                  <c:v>130</c:v>
                </c:pt>
                <c:pt idx="44">
                  <c:v>129</c:v>
                </c:pt>
                <c:pt idx="45">
                  <c:v>131</c:v>
                </c:pt>
                <c:pt idx="46">
                  <c:v>141</c:v>
                </c:pt>
                <c:pt idx="47">
                  <c:v>148</c:v>
                </c:pt>
                <c:pt idx="48">
                  <c:v>148</c:v>
                </c:pt>
                <c:pt idx="49">
                  <c:v>151</c:v>
                </c:pt>
                <c:pt idx="50">
                  <c:v>153</c:v>
                </c:pt>
                <c:pt idx="51">
                  <c:v>155</c:v>
                </c:pt>
                <c:pt idx="52">
                  <c:v>159</c:v>
                </c:pt>
                <c:pt idx="53">
                  <c:v>155</c:v>
                </c:pt>
                <c:pt idx="54">
                  <c:v>160</c:v>
                </c:pt>
                <c:pt idx="55">
                  <c:v>160</c:v>
                </c:pt>
                <c:pt idx="56">
                  <c:v>168</c:v>
                </c:pt>
                <c:pt idx="57">
                  <c:v>170</c:v>
                </c:pt>
                <c:pt idx="58">
                  <c:v>173</c:v>
                </c:pt>
                <c:pt idx="59">
                  <c:v>179</c:v>
                </c:pt>
                <c:pt idx="60">
                  <c:v>181</c:v>
                </c:pt>
                <c:pt idx="61">
                  <c:v>189</c:v>
                </c:pt>
                <c:pt idx="62">
                  <c:v>193</c:v>
                </c:pt>
                <c:pt idx="63">
                  <c:v>203</c:v>
                </c:pt>
                <c:pt idx="64">
                  <c:v>206</c:v>
                </c:pt>
                <c:pt idx="65">
                  <c:v>212</c:v>
                </c:pt>
                <c:pt idx="66">
                  <c:v>220</c:v>
                </c:pt>
                <c:pt idx="67">
                  <c:v>229</c:v>
                </c:pt>
                <c:pt idx="68">
                  <c:v>235</c:v>
                </c:pt>
                <c:pt idx="69">
                  <c:v>231</c:v>
                </c:pt>
                <c:pt idx="70">
                  <c:v>224</c:v>
                </c:pt>
                <c:pt idx="71">
                  <c:v>222</c:v>
                </c:pt>
                <c:pt idx="72">
                  <c:v>221</c:v>
                </c:pt>
                <c:pt idx="73">
                  <c:v>240</c:v>
                </c:pt>
                <c:pt idx="74">
                  <c:v>232</c:v>
                </c:pt>
                <c:pt idx="75">
                  <c:v>228</c:v>
                </c:pt>
                <c:pt idx="76">
                  <c:v>238</c:v>
                </c:pt>
                <c:pt idx="77">
                  <c:v>232</c:v>
                </c:pt>
                <c:pt idx="78">
                  <c:v>233</c:v>
                </c:pt>
                <c:pt idx="79">
                  <c:v>236</c:v>
                </c:pt>
                <c:pt idx="80">
                  <c:v>242</c:v>
                </c:pt>
                <c:pt idx="81">
                  <c:v>221</c:v>
                </c:pt>
                <c:pt idx="82">
                  <c:v>218</c:v>
                </c:pt>
                <c:pt idx="83">
                  <c:v>222</c:v>
                </c:pt>
                <c:pt idx="84">
                  <c:v>222</c:v>
                </c:pt>
                <c:pt idx="85">
                  <c:v>221</c:v>
                </c:pt>
                <c:pt idx="86">
                  <c:v>217</c:v>
                </c:pt>
                <c:pt idx="87">
                  <c:v>210</c:v>
                </c:pt>
                <c:pt idx="88">
                  <c:v>214</c:v>
                </c:pt>
                <c:pt idx="89">
                  <c:v>209</c:v>
                </c:pt>
                <c:pt idx="90">
                  <c:v>201</c:v>
                </c:pt>
                <c:pt idx="91">
                  <c:v>193</c:v>
                </c:pt>
                <c:pt idx="92">
                  <c:v>181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220.54698609247373</c:v>
                </c:pt>
                <c:pt idx="71">
                  <c:v>215.95070967366735</c:v>
                </c:pt>
                <c:pt idx="72">
                  <c:v>211.24806013446187</c:v>
                </c:pt>
                <c:pt idx="73">
                  <c:v>206.45842168858701</c:v>
                </c:pt>
                <c:pt idx="74">
                  <c:v>201.60202026656671</c:v>
                </c:pt>
                <c:pt idx="75">
                  <c:v>196.64160938253559</c:v>
                </c:pt>
                <c:pt idx="76">
                  <c:v>191.6847153034459</c:v>
                </c:pt>
                <c:pt idx="77">
                  <c:v>186.74739279778714</c:v>
                </c:pt>
                <c:pt idx="78">
                  <c:v>181.69371526518859</c:v>
                </c:pt>
                <c:pt idx="79">
                  <c:v>176.57572290722661</c:v>
                </c:pt>
                <c:pt idx="80">
                  <c:v>171.33653535941906</c:v>
                </c:pt>
                <c:pt idx="81">
                  <c:v>165.99830021869985</c:v>
                </c:pt>
                <c:pt idx="82">
                  <c:v>160.70875273999266</c:v>
                </c:pt>
                <c:pt idx="83">
                  <c:v>155.44526729604729</c:v>
                </c:pt>
                <c:pt idx="84">
                  <c:v>150.29003765896437</c:v>
                </c:pt>
                <c:pt idx="85">
                  <c:v>145.21478473956927</c:v>
                </c:pt>
                <c:pt idx="86">
                  <c:v>140.21161277559915</c:v>
                </c:pt>
                <c:pt idx="87">
                  <c:v>135.28232891166161</c:v>
                </c:pt>
                <c:pt idx="88">
                  <c:v>130.43922802165116</c:v>
                </c:pt>
                <c:pt idx="89">
                  <c:v>125.71781915538571</c:v>
                </c:pt>
                <c:pt idx="90">
                  <c:v>121.13734522243911</c:v>
                </c:pt>
                <c:pt idx="91">
                  <c:v>116.71326587921085</c:v>
                </c:pt>
                <c:pt idx="92">
                  <c:v>112.42045571784524</c:v>
                </c:pt>
                <c:pt idx="93">
                  <c:v>108.23620183496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689-48EC-BA33-19A27E736BC8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221.10875431492497</c:v>
                </c:pt>
                <c:pt idx="71">
                  <c:v>217.3161440347065</c:v>
                </c:pt>
                <c:pt idx="72">
                  <c:v>213.60981089451298</c:v>
                </c:pt>
                <c:pt idx="73">
                  <c:v>210.02069706367598</c:v>
                </c:pt>
                <c:pt idx="74">
                  <c:v>206.56831942700981</c:v>
                </c:pt>
                <c:pt idx="75">
                  <c:v>203.17795528731006</c:v>
                </c:pt>
                <c:pt idx="76">
                  <c:v>199.93425610539248</c:v>
                </c:pt>
                <c:pt idx="77">
                  <c:v>196.83211883309525</c:v>
                </c:pt>
                <c:pt idx="78">
                  <c:v>193.7314894593128</c:v>
                </c:pt>
                <c:pt idx="79">
                  <c:v>190.65902986900124</c:v>
                </c:pt>
                <c:pt idx="80">
                  <c:v>187.53344530522037</c:v>
                </c:pt>
                <c:pt idx="81">
                  <c:v>184.34931167478922</c:v>
                </c:pt>
                <c:pt idx="82">
                  <c:v>181.22372196996565</c:v>
                </c:pt>
                <c:pt idx="83">
                  <c:v>178.11624206431969</c:v>
                </c:pt>
                <c:pt idx="84">
                  <c:v>175.09658529326521</c:v>
                </c:pt>
                <c:pt idx="85">
                  <c:v>172.12177805831999</c:v>
                </c:pt>
                <c:pt idx="86">
                  <c:v>169.17553161119383</c:v>
                </c:pt>
                <c:pt idx="87">
                  <c:v>166.24842068830645</c:v>
                </c:pt>
                <c:pt idx="88">
                  <c:v>163.34478602356307</c:v>
                </c:pt>
                <c:pt idx="89">
                  <c:v>160.49266097439676</c:v>
                </c:pt>
                <c:pt idx="90">
                  <c:v>157.704501464543</c:v>
                </c:pt>
                <c:pt idx="91">
                  <c:v>154.99012666521338</c:v>
                </c:pt>
                <c:pt idx="92">
                  <c:v>152.32262231289948</c:v>
                </c:pt>
                <c:pt idx="93">
                  <c:v>149.675719519054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89-48EC-BA33-19A27E736BC8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225.57335897029466</c:v>
                </c:pt>
                <c:pt idx="71">
                  <c:v>226.38348003189921</c:v>
                </c:pt>
                <c:pt idx="72">
                  <c:v>227.35112107802999</c:v>
                </c:pt>
                <c:pt idx="73">
                  <c:v>228.51748020597921</c:v>
                </c:pt>
                <c:pt idx="74">
                  <c:v>229.92587185062771</c:v>
                </c:pt>
                <c:pt idx="75">
                  <c:v>231.50583055854494</c:v>
                </c:pt>
                <c:pt idx="76">
                  <c:v>233.28526920446782</c:v>
                </c:pt>
                <c:pt idx="77">
                  <c:v>235.25611681261859</c:v>
                </c:pt>
                <c:pt idx="78">
                  <c:v>237.37053533195311</c:v>
                </c:pt>
                <c:pt idx="79">
                  <c:v>239.64718203265059</c:v>
                </c:pt>
                <c:pt idx="80">
                  <c:v>242.00266173259303</c:v>
                </c:pt>
                <c:pt idx="81">
                  <c:v>244.40692672948623</c:v>
                </c:pt>
                <c:pt idx="82">
                  <c:v>246.92201327325006</c:v>
                </c:pt>
                <c:pt idx="83">
                  <c:v>249.52328227996452</c:v>
                </c:pt>
                <c:pt idx="84">
                  <c:v>252.27008991578089</c:v>
                </c:pt>
                <c:pt idx="85">
                  <c:v>255.09191102578495</c:v>
                </c:pt>
                <c:pt idx="86">
                  <c:v>257.96780068305884</c:v>
                </c:pt>
                <c:pt idx="87">
                  <c:v>260.92574217720806</c:v>
                </c:pt>
                <c:pt idx="88">
                  <c:v>264.13557679901362</c:v>
                </c:pt>
                <c:pt idx="89">
                  <c:v>267.58912229316888</c:v>
                </c:pt>
                <c:pt idx="90">
                  <c:v>271.29016422295695</c:v>
                </c:pt>
                <c:pt idx="91">
                  <c:v>275.22356119138931</c:v>
                </c:pt>
                <c:pt idx="92">
                  <c:v>279.3665790963172</c:v>
                </c:pt>
                <c:pt idx="93">
                  <c:v>283.685899585240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89-48EC-BA33-19A27E736BC8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225.75328154202734</c:v>
                </c:pt>
                <c:pt idx="71">
                  <c:v>226.830367044799</c:v>
                </c:pt>
                <c:pt idx="72">
                  <c:v>228.14842695770193</c:v>
                </c:pt>
                <c:pt idx="73">
                  <c:v>229.75753607042273</c:v>
                </c:pt>
                <c:pt idx="74">
                  <c:v>231.70773941129886</c:v>
                </c:pt>
                <c:pt idx="75">
                  <c:v>233.91329294845616</c:v>
                </c:pt>
                <c:pt idx="76">
                  <c:v>236.39728680468659</c:v>
                </c:pt>
                <c:pt idx="77">
                  <c:v>239.15190187796944</c:v>
                </c:pt>
                <c:pt idx="78">
                  <c:v>242.14200253045425</c:v>
                </c:pt>
                <c:pt idx="79">
                  <c:v>245.38485701894183</c:v>
                </c:pt>
                <c:pt idx="80">
                  <c:v>248.79247888659478</c:v>
                </c:pt>
                <c:pt idx="81">
                  <c:v>252.32733266036328</c:v>
                </c:pt>
                <c:pt idx="82">
                  <c:v>256.26165780836703</c:v>
                </c:pt>
                <c:pt idx="83">
                  <c:v>260.63572690981357</c:v>
                </c:pt>
                <c:pt idx="84">
                  <c:v>265.50802903264844</c:v>
                </c:pt>
                <c:pt idx="85">
                  <c:v>270.79157213755514</c:v>
                </c:pt>
                <c:pt idx="86">
                  <c:v>276.45158921905374</c:v>
                </c:pt>
                <c:pt idx="87">
                  <c:v>282.44032141035296</c:v>
                </c:pt>
                <c:pt idx="88">
                  <c:v>288.77606870990951</c:v>
                </c:pt>
                <c:pt idx="89">
                  <c:v>295.45267265958904</c:v>
                </c:pt>
                <c:pt idx="90">
                  <c:v>302.47967524397842</c:v>
                </c:pt>
                <c:pt idx="91">
                  <c:v>309.84478244247293</c:v>
                </c:pt>
                <c:pt idx="92">
                  <c:v>317.52649810101786</c:v>
                </c:pt>
                <c:pt idx="93">
                  <c:v>325.492331184450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689-48EC-BA33-19A27E736BC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02</c:v>
                </c:pt>
                <c:pt idx="1">
                  <c:v>202</c:v>
                </c:pt>
                <c:pt idx="2">
                  <c:v>202</c:v>
                </c:pt>
                <c:pt idx="3">
                  <c:v>202</c:v>
                </c:pt>
                <c:pt idx="4">
                  <c:v>202</c:v>
                </c:pt>
                <c:pt idx="5">
                  <c:v>202</c:v>
                </c:pt>
                <c:pt idx="6">
                  <c:v>202</c:v>
                </c:pt>
                <c:pt idx="7">
                  <c:v>202</c:v>
                </c:pt>
                <c:pt idx="8">
                  <c:v>202</c:v>
                </c:pt>
                <c:pt idx="9">
                  <c:v>202</c:v>
                </c:pt>
                <c:pt idx="10">
                  <c:v>202</c:v>
                </c:pt>
                <c:pt idx="11">
                  <c:v>202</c:v>
                </c:pt>
                <c:pt idx="12">
                  <c:v>202</c:v>
                </c:pt>
                <c:pt idx="13">
                  <c:v>202</c:v>
                </c:pt>
                <c:pt idx="14">
                  <c:v>202</c:v>
                </c:pt>
                <c:pt idx="15">
                  <c:v>202</c:v>
                </c:pt>
                <c:pt idx="16">
                  <c:v>202</c:v>
                </c:pt>
                <c:pt idx="17">
                  <c:v>202</c:v>
                </c:pt>
                <c:pt idx="18">
                  <c:v>202</c:v>
                </c:pt>
                <c:pt idx="19">
                  <c:v>202</c:v>
                </c:pt>
                <c:pt idx="20">
                  <c:v>202</c:v>
                </c:pt>
                <c:pt idx="21">
                  <c:v>202</c:v>
                </c:pt>
                <c:pt idx="22">
                  <c:v>202</c:v>
                </c:pt>
                <c:pt idx="23">
                  <c:v>202</c:v>
                </c:pt>
                <c:pt idx="24">
                  <c:v>202</c:v>
                </c:pt>
                <c:pt idx="25">
                  <c:v>202</c:v>
                </c:pt>
                <c:pt idx="26">
                  <c:v>202</c:v>
                </c:pt>
                <c:pt idx="27">
                  <c:v>202</c:v>
                </c:pt>
                <c:pt idx="28">
                  <c:v>202</c:v>
                </c:pt>
                <c:pt idx="29">
                  <c:v>202</c:v>
                </c:pt>
                <c:pt idx="30">
                  <c:v>202</c:v>
                </c:pt>
                <c:pt idx="31">
                  <c:v>202</c:v>
                </c:pt>
                <c:pt idx="32">
                  <c:v>202</c:v>
                </c:pt>
                <c:pt idx="33">
                  <c:v>202</c:v>
                </c:pt>
                <c:pt idx="34">
                  <c:v>202</c:v>
                </c:pt>
                <c:pt idx="35">
                  <c:v>202</c:v>
                </c:pt>
                <c:pt idx="36">
                  <c:v>202</c:v>
                </c:pt>
                <c:pt idx="37">
                  <c:v>202</c:v>
                </c:pt>
                <c:pt idx="38">
                  <c:v>202</c:v>
                </c:pt>
                <c:pt idx="39">
                  <c:v>202</c:v>
                </c:pt>
                <c:pt idx="40">
                  <c:v>202</c:v>
                </c:pt>
                <c:pt idx="41">
                  <c:v>202</c:v>
                </c:pt>
                <c:pt idx="42">
                  <c:v>202</c:v>
                </c:pt>
                <c:pt idx="43">
                  <c:v>202</c:v>
                </c:pt>
                <c:pt idx="44">
                  <c:v>202</c:v>
                </c:pt>
                <c:pt idx="45">
                  <c:v>202</c:v>
                </c:pt>
                <c:pt idx="46">
                  <c:v>202</c:v>
                </c:pt>
                <c:pt idx="47">
                  <c:v>202</c:v>
                </c:pt>
                <c:pt idx="48">
                  <c:v>202</c:v>
                </c:pt>
                <c:pt idx="49">
                  <c:v>202</c:v>
                </c:pt>
                <c:pt idx="50">
                  <c:v>202</c:v>
                </c:pt>
                <c:pt idx="51">
                  <c:v>202</c:v>
                </c:pt>
                <c:pt idx="52">
                  <c:v>202</c:v>
                </c:pt>
                <c:pt idx="53">
                  <c:v>202</c:v>
                </c:pt>
                <c:pt idx="54">
                  <c:v>202</c:v>
                </c:pt>
                <c:pt idx="55">
                  <c:v>202</c:v>
                </c:pt>
                <c:pt idx="56">
                  <c:v>202</c:v>
                </c:pt>
                <c:pt idx="57">
                  <c:v>202</c:v>
                </c:pt>
                <c:pt idx="58">
                  <c:v>202</c:v>
                </c:pt>
                <c:pt idx="59">
                  <c:v>202</c:v>
                </c:pt>
                <c:pt idx="60">
                  <c:v>202</c:v>
                </c:pt>
                <c:pt idx="61">
                  <c:v>202</c:v>
                </c:pt>
                <c:pt idx="62">
                  <c:v>202</c:v>
                </c:pt>
                <c:pt idx="63">
                  <c:v>202</c:v>
                </c:pt>
                <c:pt idx="64">
                  <c:v>202</c:v>
                </c:pt>
                <c:pt idx="65">
                  <c:v>202</c:v>
                </c:pt>
                <c:pt idx="66">
                  <c:v>202</c:v>
                </c:pt>
                <c:pt idx="67">
                  <c:v>202</c:v>
                </c:pt>
                <c:pt idx="68">
                  <c:v>202</c:v>
                </c:pt>
                <c:pt idx="69">
                  <c:v>202</c:v>
                </c:pt>
                <c:pt idx="70">
                  <c:v>202</c:v>
                </c:pt>
                <c:pt idx="71">
                  <c:v>202</c:v>
                </c:pt>
                <c:pt idx="72">
                  <c:v>202</c:v>
                </c:pt>
                <c:pt idx="73">
                  <c:v>202</c:v>
                </c:pt>
                <c:pt idx="74">
                  <c:v>202</c:v>
                </c:pt>
                <c:pt idx="75">
                  <c:v>202</c:v>
                </c:pt>
                <c:pt idx="76">
                  <c:v>202</c:v>
                </c:pt>
                <c:pt idx="77">
                  <c:v>202</c:v>
                </c:pt>
                <c:pt idx="78">
                  <c:v>202</c:v>
                </c:pt>
                <c:pt idx="79">
                  <c:v>202</c:v>
                </c:pt>
                <c:pt idx="80">
                  <c:v>202</c:v>
                </c:pt>
                <c:pt idx="81">
                  <c:v>202</c:v>
                </c:pt>
                <c:pt idx="82">
                  <c:v>202</c:v>
                </c:pt>
                <c:pt idx="83">
                  <c:v>202</c:v>
                </c:pt>
                <c:pt idx="84">
                  <c:v>202</c:v>
                </c:pt>
                <c:pt idx="85">
                  <c:v>202</c:v>
                </c:pt>
                <c:pt idx="86">
                  <c:v>202</c:v>
                </c:pt>
                <c:pt idx="87">
                  <c:v>202</c:v>
                </c:pt>
                <c:pt idx="88">
                  <c:v>202</c:v>
                </c:pt>
                <c:pt idx="89">
                  <c:v>202</c:v>
                </c:pt>
                <c:pt idx="90">
                  <c:v>202</c:v>
                </c:pt>
                <c:pt idx="91">
                  <c:v>202</c:v>
                </c:pt>
                <c:pt idx="92">
                  <c:v>202</c:v>
                </c:pt>
                <c:pt idx="93">
                  <c:v>2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5</c:v>
                </c:pt>
                <c:pt idx="1">
                  <c:v>70</c:v>
                </c:pt>
                <c:pt idx="2">
                  <c:v>74</c:v>
                </c:pt>
                <c:pt idx="3">
                  <c:v>82</c:v>
                </c:pt>
                <c:pt idx="4">
                  <c:v>84</c:v>
                </c:pt>
                <c:pt idx="5">
                  <c:v>83</c:v>
                </c:pt>
                <c:pt idx="6">
                  <c:v>86</c:v>
                </c:pt>
                <c:pt idx="7">
                  <c:v>84</c:v>
                </c:pt>
                <c:pt idx="8">
                  <c:v>82</c:v>
                </c:pt>
                <c:pt idx="9">
                  <c:v>80</c:v>
                </c:pt>
                <c:pt idx="10">
                  <c:v>81</c:v>
                </c:pt>
                <c:pt idx="11">
                  <c:v>83</c:v>
                </c:pt>
                <c:pt idx="12">
                  <c:v>84</c:v>
                </c:pt>
                <c:pt idx="13">
                  <c:v>81</c:v>
                </c:pt>
                <c:pt idx="14">
                  <c:v>78</c:v>
                </c:pt>
                <c:pt idx="15">
                  <c:v>81</c:v>
                </c:pt>
                <c:pt idx="16">
                  <c:v>84</c:v>
                </c:pt>
                <c:pt idx="17">
                  <c:v>77</c:v>
                </c:pt>
                <c:pt idx="18">
                  <c:v>81</c:v>
                </c:pt>
                <c:pt idx="19">
                  <c:v>87</c:v>
                </c:pt>
                <c:pt idx="20">
                  <c:v>85</c:v>
                </c:pt>
                <c:pt idx="21">
                  <c:v>86</c:v>
                </c:pt>
                <c:pt idx="22">
                  <c:v>80</c:v>
                </c:pt>
                <c:pt idx="23">
                  <c:v>74</c:v>
                </c:pt>
                <c:pt idx="24">
                  <c:v>69</c:v>
                </c:pt>
                <c:pt idx="25">
                  <c:v>64</c:v>
                </c:pt>
                <c:pt idx="26">
                  <c:v>66</c:v>
                </c:pt>
                <c:pt idx="27">
                  <c:v>67</c:v>
                </c:pt>
                <c:pt idx="28">
                  <c:v>60</c:v>
                </c:pt>
                <c:pt idx="29">
                  <c:v>58</c:v>
                </c:pt>
                <c:pt idx="30">
                  <c:v>61</c:v>
                </c:pt>
                <c:pt idx="31">
                  <c:v>62</c:v>
                </c:pt>
                <c:pt idx="32">
                  <c:v>59</c:v>
                </c:pt>
                <c:pt idx="33">
                  <c:v>54</c:v>
                </c:pt>
                <c:pt idx="34">
                  <c:v>54</c:v>
                </c:pt>
                <c:pt idx="35">
                  <c:v>53</c:v>
                </c:pt>
                <c:pt idx="36">
                  <c:v>49</c:v>
                </c:pt>
                <c:pt idx="37">
                  <c:v>50</c:v>
                </c:pt>
                <c:pt idx="38">
                  <c:v>47</c:v>
                </c:pt>
                <c:pt idx="39">
                  <c:v>46</c:v>
                </c:pt>
                <c:pt idx="40">
                  <c:v>50</c:v>
                </c:pt>
                <c:pt idx="41">
                  <c:v>48</c:v>
                </c:pt>
                <c:pt idx="42">
                  <c:v>49</c:v>
                </c:pt>
                <c:pt idx="43">
                  <c:v>51</c:v>
                </c:pt>
                <c:pt idx="44">
                  <c:v>49</c:v>
                </c:pt>
                <c:pt idx="45">
                  <c:v>49</c:v>
                </c:pt>
                <c:pt idx="46">
                  <c:v>51</c:v>
                </c:pt>
                <c:pt idx="47">
                  <c:v>51</c:v>
                </c:pt>
                <c:pt idx="48">
                  <c:v>52</c:v>
                </c:pt>
                <c:pt idx="49">
                  <c:v>58</c:v>
                </c:pt>
                <c:pt idx="50">
                  <c:v>61</c:v>
                </c:pt>
                <c:pt idx="51">
                  <c:v>52</c:v>
                </c:pt>
                <c:pt idx="52">
                  <c:v>64</c:v>
                </c:pt>
                <c:pt idx="53">
                  <c:v>67</c:v>
                </c:pt>
                <c:pt idx="54">
                  <c:v>65</c:v>
                </c:pt>
                <c:pt idx="55">
                  <c:v>65</c:v>
                </c:pt>
                <c:pt idx="56">
                  <c:v>66</c:v>
                </c:pt>
                <c:pt idx="57">
                  <c:v>67</c:v>
                </c:pt>
                <c:pt idx="58">
                  <c:v>69</c:v>
                </c:pt>
                <c:pt idx="59">
                  <c:v>87</c:v>
                </c:pt>
                <c:pt idx="60">
                  <c:v>84</c:v>
                </c:pt>
                <c:pt idx="61">
                  <c:v>83</c:v>
                </c:pt>
                <c:pt idx="62">
                  <c:v>87</c:v>
                </c:pt>
                <c:pt idx="63">
                  <c:v>89</c:v>
                </c:pt>
                <c:pt idx="64">
                  <c:v>89</c:v>
                </c:pt>
                <c:pt idx="65">
                  <c:v>93</c:v>
                </c:pt>
                <c:pt idx="66">
                  <c:v>96</c:v>
                </c:pt>
                <c:pt idx="67">
                  <c:v>93</c:v>
                </c:pt>
                <c:pt idx="68">
                  <c:v>96</c:v>
                </c:pt>
                <c:pt idx="69">
                  <c:v>90</c:v>
                </c:pt>
                <c:pt idx="70">
                  <c:v>88</c:v>
                </c:pt>
                <c:pt idx="71">
                  <c:v>89</c:v>
                </c:pt>
                <c:pt idx="72">
                  <c:v>93</c:v>
                </c:pt>
                <c:pt idx="73">
                  <c:v>96</c:v>
                </c:pt>
                <c:pt idx="74">
                  <c:v>96</c:v>
                </c:pt>
                <c:pt idx="75">
                  <c:v>94</c:v>
                </c:pt>
                <c:pt idx="76">
                  <c:v>94</c:v>
                </c:pt>
                <c:pt idx="77">
                  <c:v>105</c:v>
                </c:pt>
                <c:pt idx="78">
                  <c:v>107</c:v>
                </c:pt>
                <c:pt idx="79">
                  <c:v>102</c:v>
                </c:pt>
                <c:pt idx="80">
                  <c:v>109</c:v>
                </c:pt>
                <c:pt idx="81">
                  <c:v>108</c:v>
                </c:pt>
                <c:pt idx="82">
                  <c:v>106</c:v>
                </c:pt>
                <c:pt idx="83">
                  <c:v>106</c:v>
                </c:pt>
                <c:pt idx="84">
                  <c:v>105</c:v>
                </c:pt>
                <c:pt idx="85">
                  <c:v>102</c:v>
                </c:pt>
                <c:pt idx="86">
                  <c:v>102</c:v>
                </c:pt>
                <c:pt idx="87">
                  <c:v>102</c:v>
                </c:pt>
                <c:pt idx="88">
                  <c:v>92</c:v>
                </c:pt>
                <c:pt idx="89">
                  <c:v>94</c:v>
                </c:pt>
                <c:pt idx="90">
                  <c:v>75</c:v>
                </c:pt>
                <c:pt idx="91">
                  <c:v>75</c:v>
                </c:pt>
                <c:pt idx="92">
                  <c:v>77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89.098674434828879</c:v>
                </c:pt>
                <c:pt idx="71">
                  <c:v>87.239295873899607</c:v>
                </c:pt>
                <c:pt idx="72">
                  <c:v>85.337162119148786</c:v>
                </c:pt>
                <c:pt idx="73">
                  <c:v>83.400173834344173</c:v>
                </c:pt>
                <c:pt idx="74">
                  <c:v>81.436712965543691</c:v>
                </c:pt>
                <c:pt idx="75">
                  <c:v>79.43145880197271</c:v>
                </c:pt>
                <c:pt idx="76">
                  <c:v>77.427692128269001</c:v>
                </c:pt>
                <c:pt idx="77">
                  <c:v>75.432182944502742</c:v>
                </c:pt>
                <c:pt idx="78">
                  <c:v>73.389763971391233</c:v>
                </c:pt>
                <c:pt idx="79">
                  <c:v>71.321694537500633</c:v>
                </c:pt>
                <c:pt idx="80">
                  <c:v>69.204829363011569</c:v>
                </c:pt>
                <c:pt idx="81">
                  <c:v>67.048016918939226</c:v>
                </c:pt>
                <c:pt idx="82">
                  <c:v>64.910983393126514</c:v>
                </c:pt>
                <c:pt idx="83">
                  <c:v>62.784536187250971</c:v>
                </c:pt>
                <c:pt idx="84">
                  <c:v>60.701967658774336</c:v>
                </c:pt>
                <c:pt idx="85">
                  <c:v>58.651816744874232</c:v>
                </c:pt>
                <c:pt idx="86">
                  <c:v>56.630903240462885</c:v>
                </c:pt>
                <c:pt idx="87">
                  <c:v>54.639942266500768</c:v>
                </c:pt>
                <c:pt idx="88">
                  <c:v>52.683825171281242</c:v>
                </c:pt>
                <c:pt idx="89">
                  <c:v>50.776938157905079</c:v>
                </c:pt>
                <c:pt idx="90">
                  <c:v>48.92703584119343</c:v>
                </c:pt>
                <c:pt idx="91">
                  <c:v>47.140397339771894</c:v>
                </c:pt>
                <c:pt idx="92">
                  <c:v>45.406828721721837</c:v>
                </c:pt>
                <c:pt idx="93">
                  <c:v>43.7171138118678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649-4ED8-A312-E63B49693818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89.325396107336957</c:v>
                </c:pt>
                <c:pt idx="71">
                  <c:v>87.790385855581803</c:v>
                </c:pt>
                <c:pt idx="72">
                  <c:v>86.290371620139524</c:v>
                </c:pt>
                <c:pt idx="73">
                  <c:v>84.83794074226202</c:v>
                </c:pt>
                <c:pt idx="74">
                  <c:v>83.441178171148067</c:v>
                </c:pt>
                <c:pt idx="75">
                  <c:v>82.069650059009874</c:v>
                </c:pt>
                <c:pt idx="76">
                  <c:v>80.757414161869775</c:v>
                </c:pt>
                <c:pt idx="77">
                  <c:v>79.502719229660073</c:v>
                </c:pt>
                <c:pt idx="78">
                  <c:v>78.248724854458189</c:v>
                </c:pt>
                <c:pt idx="79">
                  <c:v>77.006440463755325</c:v>
                </c:pt>
                <c:pt idx="80">
                  <c:v>75.742858918225352</c:v>
                </c:pt>
                <c:pt idx="81">
                  <c:v>74.45569705517741</c:v>
                </c:pt>
                <c:pt idx="82">
                  <c:v>73.192313664525699</c:v>
                </c:pt>
                <c:pt idx="83">
                  <c:v>71.936314918648151</c:v>
                </c:pt>
                <c:pt idx="84">
                  <c:v>70.715954290031377</c:v>
                </c:pt>
                <c:pt idx="85">
                  <c:v>69.513839462586759</c:v>
                </c:pt>
                <c:pt idx="86">
                  <c:v>68.323400117337911</c:v>
                </c:pt>
                <c:pt idx="87">
                  <c:v>67.140812907776819</c:v>
                </c:pt>
                <c:pt idx="88">
                  <c:v>65.967763134869983</c:v>
                </c:pt>
                <c:pt idx="89">
                  <c:v>64.815613033010123</c:v>
                </c:pt>
                <c:pt idx="90">
                  <c:v>63.689379428661539</c:v>
                </c:pt>
                <c:pt idx="91">
                  <c:v>62.593059801762763</c:v>
                </c:pt>
                <c:pt idx="92">
                  <c:v>61.515740559822362</c:v>
                </c:pt>
                <c:pt idx="93">
                  <c:v>60.4467667317524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649-4ED8-A312-E63B49693818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91.136945423401841</c:v>
                </c:pt>
                <c:pt idx="71">
                  <c:v>91.468152413831319</c:v>
                </c:pt>
                <c:pt idx="72">
                  <c:v>91.861983852246482</c:v>
                </c:pt>
                <c:pt idx="73">
                  <c:v>92.335091801223655</c:v>
                </c:pt>
                <c:pt idx="74">
                  <c:v>92.905166150023319</c:v>
                </c:pt>
                <c:pt idx="75">
                  <c:v>93.54376834954121</c:v>
                </c:pt>
                <c:pt idx="76">
                  <c:v>94.26201649516355</c:v>
                </c:pt>
                <c:pt idx="77">
                  <c:v>95.057027011959519</c:v>
                </c:pt>
                <c:pt idx="78">
                  <c:v>95.90934622553668</c:v>
                </c:pt>
                <c:pt idx="79">
                  <c:v>96.826812549343344</c:v>
                </c:pt>
                <c:pt idx="80">
                  <c:v>97.775671697736641</c:v>
                </c:pt>
                <c:pt idx="81">
                  <c:v>98.743788486474912</c:v>
                </c:pt>
                <c:pt idx="82">
                  <c:v>99.756297073968852</c:v>
                </c:pt>
                <c:pt idx="83">
                  <c:v>100.80325930723882</c:v>
                </c:pt>
                <c:pt idx="84">
                  <c:v>101.90873829797664</c:v>
                </c:pt>
                <c:pt idx="85">
                  <c:v>103.04420646806582</c:v>
                </c:pt>
                <c:pt idx="86">
                  <c:v>104.20125647927836</c:v>
                </c:pt>
                <c:pt idx="87">
                  <c:v>105.39133678043117</c:v>
                </c:pt>
                <c:pt idx="88">
                  <c:v>106.68345708099625</c:v>
                </c:pt>
                <c:pt idx="89">
                  <c:v>108.07427425182713</c:v>
                </c:pt>
                <c:pt idx="90">
                  <c:v>109.5653138686734</c:v>
                </c:pt>
                <c:pt idx="91">
                  <c:v>111.15045396948325</c:v>
                </c:pt>
                <c:pt idx="92">
                  <c:v>112.8205167770556</c:v>
                </c:pt>
                <c:pt idx="93">
                  <c:v>114.562003742700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649-4ED8-A312-E63B49693818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91.209267241451244</c:v>
                </c:pt>
                <c:pt idx="71">
                  <c:v>91.647783468036138</c:v>
                </c:pt>
                <c:pt idx="72">
                  <c:v>92.182469548977352</c:v>
                </c:pt>
                <c:pt idx="73">
                  <c:v>92.833545629088206</c:v>
                </c:pt>
                <c:pt idx="74">
                  <c:v>93.62140703225387</c:v>
                </c:pt>
                <c:pt idx="75">
                  <c:v>94.511473819995729</c:v>
                </c:pt>
                <c:pt idx="76">
                  <c:v>95.512925530545601</c:v>
                </c:pt>
                <c:pt idx="77">
                  <c:v>96.622979832345635</c:v>
                </c:pt>
                <c:pt idx="78">
                  <c:v>97.827288922973423</c:v>
                </c:pt>
                <c:pt idx="79">
                  <c:v>99.133132886970202</c:v>
                </c:pt>
                <c:pt idx="80">
                  <c:v>100.50491192630597</c:v>
                </c:pt>
                <c:pt idx="81">
                  <c:v>101.92748106653335</c:v>
                </c:pt>
                <c:pt idx="82">
                  <c:v>103.51144563062917</c:v>
                </c:pt>
                <c:pt idx="83">
                  <c:v>105.27324272616295</c:v>
                </c:pt>
                <c:pt idx="84">
                  <c:v>107.23656626902329</c:v>
                </c:pt>
                <c:pt idx="85">
                  <c:v>109.36620082504646</c:v>
                </c:pt>
                <c:pt idx="86">
                  <c:v>111.64812561528038</c:v>
                </c:pt>
                <c:pt idx="87">
                  <c:v>114.06301201686148</c:v>
                </c:pt>
                <c:pt idx="88">
                  <c:v>116.61826917184877</c:v>
                </c:pt>
                <c:pt idx="89">
                  <c:v>119.31136311160901</c:v>
                </c:pt>
                <c:pt idx="90">
                  <c:v>122.14615452679894</c:v>
                </c:pt>
                <c:pt idx="91">
                  <c:v>125.1176738326665</c:v>
                </c:pt>
                <c:pt idx="92">
                  <c:v>128.21724574468141</c:v>
                </c:pt>
                <c:pt idx="93">
                  <c:v>131.431706433981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649-4ED8-A312-E63B4969381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93</c:v>
                </c:pt>
                <c:pt idx="1">
                  <c:v>93</c:v>
                </c:pt>
                <c:pt idx="2">
                  <c:v>93</c:v>
                </c:pt>
                <c:pt idx="3">
                  <c:v>93</c:v>
                </c:pt>
                <c:pt idx="4">
                  <c:v>93</c:v>
                </c:pt>
                <c:pt idx="5">
                  <c:v>93</c:v>
                </c:pt>
                <c:pt idx="6">
                  <c:v>93</c:v>
                </c:pt>
                <c:pt idx="7">
                  <c:v>93</c:v>
                </c:pt>
                <c:pt idx="8">
                  <c:v>93</c:v>
                </c:pt>
                <c:pt idx="9">
                  <c:v>93</c:v>
                </c:pt>
                <c:pt idx="10">
                  <c:v>93</c:v>
                </c:pt>
                <c:pt idx="11">
                  <c:v>93</c:v>
                </c:pt>
                <c:pt idx="12">
                  <c:v>93</c:v>
                </c:pt>
                <c:pt idx="13">
                  <c:v>93</c:v>
                </c:pt>
                <c:pt idx="14">
                  <c:v>93</c:v>
                </c:pt>
                <c:pt idx="15">
                  <c:v>93</c:v>
                </c:pt>
                <c:pt idx="16">
                  <c:v>93</c:v>
                </c:pt>
                <c:pt idx="17">
                  <c:v>93</c:v>
                </c:pt>
                <c:pt idx="18">
                  <c:v>93</c:v>
                </c:pt>
                <c:pt idx="19">
                  <c:v>93</c:v>
                </c:pt>
                <c:pt idx="20">
                  <c:v>93</c:v>
                </c:pt>
                <c:pt idx="21">
                  <c:v>93</c:v>
                </c:pt>
                <c:pt idx="22">
                  <c:v>93</c:v>
                </c:pt>
                <c:pt idx="23">
                  <c:v>93</c:v>
                </c:pt>
                <c:pt idx="24">
                  <c:v>93</c:v>
                </c:pt>
                <c:pt idx="25">
                  <c:v>93</c:v>
                </c:pt>
                <c:pt idx="26">
                  <c:v>93</c:v>
                </c:pt>
                <c:pt idx="27">
                  <c:v>93</c:v>
                </c:pt>
                <c:pt idx="28">
                  <c:v>93</c:v>
                </c:pt>
                <c:pt idx="29">
                  <c:v>93</c:v>
                </c:pt>
                <c:pt idx="30">
                  <c:v>93</c:v>
                </c:pt>
                <c:pt idx="31">
                  <c:v>93</c:v>
                </c:pt>
                <c:pt idx="32">
                  <c:v>93</c:v>
                </c:pt>
                <c:pt idx="33">
                  <c:v>93</c:v>
                </c:pt>
                <c:pt idx="34">
                  <c:v>93</c:v>
                </c:pt>
                <c:pt idx="35">
                  <c:v>93</c:v>
                </c:pt>
                <c:pt idx="36">
                  <c:v>93</c:v>
                </c:pt>
                <c:pt idx="37">
                  <c:v>93</c:v>
                </c:pt>
                <c:pt idx="38">
                  <c:v>93</c:v>
                </c:pt>
                <c:pt idx="39">
                  <c:v>93</c:v>
                </c:pt>
                <c:pt idx="40">
                  <c:v>93</c:v>
                </c:pt>
                <c:pt idx="41">
                  <c:v>93</c:v>
                </c:pt>
                <c:pt idx="42">
                  <c:v>93</c:v>
                </c:pt>
                <c:pt idx="43">
                  <c:v>93</c:v>
                </c:pt>
                <c:pt idx="44">
                  <c:v>93</c:v>
                </c:pt>
                <c:pt idx="45">
                  <c:v>93</c:v>
                </c:pt>
                <c:pt idx="46">
                  <c:v>93</c:v>
                </c:pt>
                <c:pt idx="47">
                  <c:v>93</c:v>
                </c:pt>
                <c:pt idx="48">
                  <c:v>93</c:v>
                </c:pt>
                <c:pt idx="49">
                  <c:v>93</c:v>
                </c:pt>
                <c:pt idx="50">
                  <c:v>93</c:v>
                </c:pt>
                <c:pt idx="51">
                  <c:v>93</c:v>
                </c:pt>
                <c:pt idx="52">
                  <c:v>93</c:v>
                </c:pt>
                <c:pt idx="53">
                  <c:v>93</c:v>
                </c:pt>
                <c:pt idx="54">
                  <c:v>93</c:v>
                </c:pt>
                <c:pt idx="55">
                  <c:v>93</c:v>
                </c:pt>
                <c:pt idx="56">
                  <c:v>93</c:v>
                </c:pt>
                <c:pt idx="57">
                  <c:v>93</c:v>
                </c:pt>
                <c:pt idx="58">
                  <c:v>93</c:v>
                </c:pt>
                <c:pt idx="59">
                  <c:v>93</c:v>
                </c:pt>
                <c:pt idx="60">
                  <c:v>93</c:v>
                </c:pt>
                <c:pt idx="61">
                  <c:v>93</c:v>
                </c:pt>
                <c:pt idx="62">
                  <c:v>93</c:v>
                </c:pt>
                <c:pt idx="63">
                  <c:v>93</c:v>
                </c:pt>
                <c:pt idx="64">
                  <c:v>93</c:v>
                </c:pt>
                <c:pt idx="65">
                  <c:v>93</c:v>
                </c:pt>
                <c:pt idx="66">
                  <c:v>93</c:v>
                </c:pt>
                <c:pt idx="67">
                  <c:v>93</c:v>
                </c:pt>
                <c:pt idx="68">
                  <c:v>93</c:v>
                </c:pt>
                <c:pt idx="69">
                  <c:v>93</c:v>
                </c:pt>
                <c:pt idx="70">
                  <c:v>93</c:v>
                </c:pt>
                <c:pt idx="71">
                  <c:v>93</c:v>
                </c:pt>
                <c:pt idx="72">
                  <c:v>93</c:v>
                </c:pt>
                <c:pt idx="73">
                  <c:v>93</c:v>
                </c:pt>
                <c:pt idx="74">
                  <c:v>93</c:v>
                </c:pt>
                <c:pt idx="75">
                  <c:v>93</c:v>
                </c:pt>
                <c:pt idx="76">
                  <c:v>93</c:v>
                </c:pt>
                <c:pt idx="77">
                  <c:v>93</c:v>
                </c:pt>
                <c:pt idx="78">
                  <c:v>93</c:v>
                </c:pt>
                <c:pt idx="79">
                  <c:v>93</c:v>
                </c:pt>
                <c:pt idx="80">
                  <c:v>93</c:v>
                </c:pt>
                <c:pt idx="81">
                  <c:v>93</c:v>
                </c:pt>
                <c:pt idx="82">
                  <c:v>93</c:v>
                </c:pt>
                <c:pt idx="83">
                  <c:v>93</c:v>
                </c:pt>
                <c:pt idx="84">
                  <c:v>93</c:v>
                </c:pt>
                <c:pt idx="85">
                  <c:v>93</c:v>
                </c:pt>
                <c:pt idx="86">
                  <c:v>93</c:v>
                </c:pt>
                <c:pt idx="87">
                  <c:v>93</c:v>
                </c:pt>
                <c:pt idx="88">
                  <c:v>93</c:v>
                </c:pt>
                <c:pt idx="89">
                  <c:v>93</c:v>
                </c:pt>
                <c:pt idx="90">
                  <c:v>93</c:v>
                </c:pt>
                <c:pt idx="91">
                  <c:v>93</c:v>
                </c:pt>
                <c:pt idx="92">
                  <c:v>93</c:v>
                </c:pt>
                <c:pt idx="93">
                  <c:v>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58</c:v>
                </c:pt>
                <c:pt idx="1">
                  <c:v>57</c:v>
                </c:pt>
                <c:pt idx="2">
                  <c:v>53</c:v>
                </c:pt>
                <c:pt idx="3">
                  <c:v>60</c:v>
                </c:pt>
                <c:pt idx="4">
                  <c:v>62</c:v>
                </c:pt>
                <c:pt idx="5">
                  <c:v>59</c:v>
                </c:pt>
                <c:pt idx="6">
                  <c:v>65</c:v>
                </c:pt>
                <c:pt idx="7">
                  <c:v>66</c:v>
                </c:pt>
                <c:pt idx="8">
                  <c:v>63</c:v>
                </c:pt>
                <c:pt idx="9">
                  <c:v>62</c:v>
                </c:pt>
                <c:pt idx="10">
                  <c:v>73</c:v>
                </c:pt>
                <c:pt idx="11">
                  <c:v>64</c:v>
                </c:pt>
                <c:pt idx="12">
                  <c:v>57</c:v>
                </c:pt>
                <c:pt idx="13">
                  <c:v>65</c:v>
                </c:pt>
                <c:pt idx="14">
                  <c:v>61</c:v>
                </c:pt>
                <c:pt idx="15">
                  <c:v>53</c:v>
                </c:pt>
                <c:pt idx="16">
                  <c:v>49</c:v>
                </c:pt>
                <c:pt idx="17">
                  <c:v>54</c:v>
                </c:pt>
                <c:pt idx="18">
                  <c:v>52</c:v>
                </c:pt>
                <c:pt idx="19">
                  <c:v>51</c:v>
                </c:pt>
                <c:pt idx="20">
                  <c:v>51</c:v>
                </c:pt>
                <c:pt idx="21">
                  <c:v>46</c:v>
                </c:pt>
                <c:pt idx="22">
                  <c:v>47</c:v>
                </c:pt>
                <c:pt idx="23">
                  <c:v>49</c:v>
                </c:pt>
                <c:pt idx="24">
                  <c:v>48</c:v>
                </c:pt>
                <c:pt idx="25">
                  <c:v>43</c:v>
                </c:pt>
                <c:pt idx="26">
                  <c:v>46</c:v>
                </c:pt>
                <c:pt idx="27">
                  <c:v>42</c:v>
                </c:pt>
                <c:pt idx="28">
                  <c:v>44</c:v>
                </c:pt>
                <c:pt idx="29">
                  <c:v>43</c:v>
                </c:pt>
                <c:pt idx="30">
                  <c:v>41</c:v>
                </c:pt>
                <c:pt idx="31">
                  <c:v>40</c:v>
                </c:pt>
                <c:pt idx="32">
                  <c:v>41</c:v>
                </c:pt>
                <c:pt idx="33">
                  <c:v>37</c:v>
                </c:pt>
                <c:pt idx="34">
                  <c:v>37</c:v>
                </c:pt>
                <c:pt idx="35">
                  <c:v>34</c:v>
                </c:pt>
                <c:pt idx="36">
                  <c:v>35</c:v>
                </c:pt>
                <c:pt idx="37">
                  <c:v>39</c:v>
                </c:pt>
                <c:pt idx="38">
                  <c:v>38</c:v>
                </c:pt>
                <c:pt idx="39">
                  <c:v>36</c:v>
                </c:pt>
                <c:pt idx="40">
                  <c:v>43</c:v>
                </c:pt>
                <c:pt idx="41">
                  <c:v>42</c:v>
                </c:pt>
                <c:pt idx="42">
                  <c:v>36</c:v>
                </c:pt>
                <c:pt idx="43">
                  <c:v>40</c:v>
                </c:pt>
                <c:pt idx="44">
                  <c:v>43</c:v>
                </c:pt>
                <c:pt idx="45">
                  <c:v>46</c:v>
                </c:pt>
                <c:pt idx="46">
                  <c:v>46</c:v>
                </c:pt>
                <c:pt idx="47">
                  <c:v>51</c:v>
                </c:pt>
                <c:pt idx="48">
                  <c:v>43</c:v>
                </c:pt>
                <c:pt idx="49">
                  <c:v>42</c:v>
                </c:pt>
                <c:pt idx="50">
                  <c:v>44</c:v>
                </c:pt>
                <c:pt idx="51">
                  <c:v>43</c:v>
                </c:pt>
                <c:pt idx="52">
                  <c:v>47</c:v>
                </c:pt>
                <c:pt idx="53">
                  <c:v>48</c:v>
                </c:pt>
                <c:pt idx="54">
                  <c:v>50</c:v>
                </c:pt>
                <c:pt idx="55">
                  <c:v>53</c:v>
                </c:pt>
                <c:pt idx="56">
                  <c:v>49</c:v>
                </c:pt>
                <c:pt idx="57">
                  <c:v>51</c:v>
                </c:pt>
                <c:pt idx="58">
                  <c:v>54</c:v>
                </c:pt>
                <c:pt idx="59">
                  <c:v>54</c:v>
                </c:pt>
                <c:pt idx="60">
                  <c:v>54</c:v>
                </c:pt>
                <c:pt idx="61">
                  <c:v>60</c:v>
                </c:pt>
                <c:pt idx="62">
                  <c:v>61</c:v>
                </c:pt>
                <c:pt idx="63">
                  <c:v>63</c:v>
                </c:pt>
                <c:pt idx="64">
                  <c:v>66</c:v>
                </c:pt>
                <c:pt idx="65">
                  <c:v>70</c:v>
                </c:pt>
                <c:pt idx="66">
                  <c:v>74</c:v>
                </c:pt>
                <c:pt idx="67">
                  <c:v>77</c:v>
                </c:pt>
                <c:pt idx="68">
                  <c:v>67</c:v>
                </c:pt>
                <c:pt idx="69">
                  <c:v>66</c:v>
                </c:pt>
                <c:pt idx="70">
                  <c:v>73</c:v>
                </c:pt>
                <c:pt idx="71">
                  <c:v>71</c:v>
                </c:pt>
                <c:pt idx="72">
                  <c:v>70</c:v>
                </c:pt>
                <c:pt idx="73">
                  <c:v>68</c:v>
                </c:pt>
                <c:pt idx="74">
                  <c:v>66</c:v>
                </c:pt>
                <c:pt idx="75">
                  <c:v>71</c:v>
                </c:pt>
                <c:pt idx="76">
                  <c:v>65</c:v>
                </c:pt>
                <c:pt idx="77">
                  <c:v>66</c:v>
                </c:pt>
                <c:pt idx="78">
                  <c:v>68</c:v>
                </c:pt>
                <c:pt idx="79">
                  <c:v>69</c:v>
                </c:pt>
                <c:pt idx="80">
                  <c:v>68</c:v>
                </c:pt>
                <c:pt idx="81">
                  <c:v>64</c:v>
                </c:pt>
                <c:pt idx="82">
                  <c:v>68</c:v>
                </c:pt>
                <c:pt idx="83">
                  <c:v>62</c:v>
                </c:pt>
                <c:pt idx="84">
                  <c:v>65</c:v>
                </c:pt>
                <c:pt idx="85">
                  <c:v>63</c:v>
                </c:pt>
                <c:pt idx="86">
                  <c:v>67</c:v>
                </c:pt>
                <c:pt idx="87">
                  <c:v>74</c:v>
                </c:pt>
                <c:pt idx="88">
                  <c:v>65</c:v>
                </c:pt>
                <c:pt idx="89">
                  <c:v>66</c:v>
                </c:pt>
                <c:pt idx="90">
                  <c:v>63</c:v>
                </c:pt>
                <c:pt idx="91">
                  <c:v>63</c:v>
                </c:pt>
                <c:pt idx="92">
                  <c:v>61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66.391547116380082</c:v>
                </c:pt>
                <c:pt idx="71">
                  <c:v>65.044145715011112</c:v>
                </c:pt>
                <c:pt idx="72">
                  <c:v>63.661596605823298</c:v>
                </c:pt>
                <c:pt idx="73">
                  <c:v>62.248738344303369</c:v>
                </c:pt>
                <c:pt idx="74">
                  <c:v>60.808641577354898</c:v>
                </c:pt>
                <c:pt idx="75">
                  <c:v>59.334008375730967</c:v>
                </c:pt>
                <c:pt idx="76">
                  <c:v>57.859478742840537</c:v>
                </c:pt>
                <c:pt idx="77">
                  <c:v>56.38582066342228</c:v>
                </c:pt>
                <c:pt idx="78">
                  <c:v>54.875756127159669</c:v>
                </c:pt>
                <c:pt idx="79">
                  <c:v>53.34157866898223</c:v>
                </c:pt>
                <c:pt idx="80">
                  <c:v>51.76854416736132</c:v>
                </c:pt>
                <c:pt idx="81">
                  <c:v>50.164735506887133</c:v>
                </c:pt>
                <c:pt idx="82">
                  <c:v>48.574014662841769</c:v>
                </c:pt>
                <c:pt idx="83">
                  <c:v>46.990315969431506</c:v>
                </c:pt>
                <c:pt idx="84">
                  <c:v>45.43713819190279</c:v>
                </c:pt>
                <c:pt idx="85">
                  <c:v>43.906492328780558</c:v>
                </c:pt>
                <c:pt idx="86">
                  <c:v>42.395864116579141</c:v>
                </c:pt>
                <c:pt idx="87">
                  <c:v>40.906011466879846</c:v>
                </c:pt>
                <c:pt idx="88">
                  <c:v>39.441718201101182</c:v>
                </c:pt>
                <c:pt idx="89">
                  <c:v>38.013088057230789</c:v>
                </c:pt>
                <c:pt idx="90">
                  <c:v>36.626190237316067</c:v>
                </c:pt>
                <c:pt idx="91">
                  <c:v>35.285198019786726</c:v>
                </c:pt>
                <c:pt idx="92">
                  <c:v>33.983170842031321</c:v>
                </c:pt>
                <c:pt idx="93">
                  <c:v>32.7138495838845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321-4139-88D6-247F1D25A657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66.563902891842389</c:v>
                </c:pt>
                <c:pt idx="71">
                  <c:v>65.462786525852721</c:v>
                </c:pt>
                <c:pt idx="72">
                  <c:v>64.385625037079365</c:v>
                </c:pt>
                <c:pt idx="73">
                  <c:v>63.340487494615402</c:v>
                </c:pt>
                <c:pt idx="74">
                  <c:v>62.330382081882711</c:v>
                </c:pt>
                <c:pt idx="75">
                  <c:v>61.336344952684044</c:v>
                </c:pt>
                <c:pt idx="76">
                  <c:v>60.385870274912477</c:v>
                </c:pt>
                <c:pt idx="77">
                  <c:v>59.472980676006145</c:v>
                </c:pt>
                <c:pt idx="78">
                  <c:v>58.559237210061717</c:v>
                </c:pt>
                <c:pt idx="79">
                  <c:v>57.649255486352089</c:v>
                </c:pt>
                <c:pt idx="80">
                  <c:v>56.720923288556193</c:v>
                </c:pt>
                <c:pt idx="81">
                  <c:v>55.773922799691462</c:v>
                </c:pt>
                <c:pt idx="82">
                  <c:v>54.842723477887631</c:v>
                </c:pt>
                <c:pt idx="83">
                  <c:v>53.915995800663296</c:v>
                </c:pt>
                <c:pt idx="84">
                  <c:v>53.013437440266294</c:v>
                </c:pt>
                <c:pt idx="85">
                  <c:v>52.122561830943184</c:v>
                </c:pt>
                <c:pt idx="86">
                  <c:v>51.238320076984948</c:v>
                </c:pt>
                <c:pt idx="87">
                  <c:v>50.358098688375136</c:v>
                </c:pt>
                <c:pt idx="88">
                  <c:v>49.484181967982771</c:v>
                </c:pt>
                <c:pt idx="89">
                  <c:v>48.624478581213374</c:v>
                </c:pt>
                <c:pt idx="90">
                  <c:v>47.782956203345094</c:v>
                </c:pt>
                <c:pt idx="91">
                  <c:v>46.962132249679271</c:v>
                </c:pt>
                <c:pt idx="92">
                  <c:v>46.1544844589665</c:v>
                </c:pt>
                <c:pt idx="93">
                  <c:v>45.3527149493647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321-4139-88D6-247F1D25A657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67.794890170352801</c:v>
                </c:pt>
                <c:pt idx="71">
                  <c:v>67.982567825288768</c:v>
                </c:pt>
                <c:pt idx="72">
                  <c:v>68.232146633250096</c:v>
                </c:pt>
                <c:pt idx="73">
                  <c:v>68.555907403430254</c:v>
                </c:pt>
                <c:pt idx="74">
                  <c:v>68.964151230895069</c:v>
                </c:pt>
                <c:pt idx="75">
                  <c:v>69.435254262811782</c:v>
                </c:pt>
                <c:pt idx="76">
                  <c:v>69.979886256447287</c:v>
                </c:pt>
                <c:pt idx="77">
                  <c:v>70.590222025157544</c:v>
                </c:pt>
                <c:pt idx="78">
                  <c:v>71.253686973249216</c:v>
                </c:pt>
                <c:pt idx="79">
                  <c:v>71.971588799597612</c:v>
                </c:pt>
                <c:pt idx="80">
                  <c:v>72.719731779128281</c:v>
                </c:pt>
                <c:pt idx="81">
                  <c:v>73.489016615615526</c:v>
                </c:pt>
                <c:pt idx="82">
                  <c:v>74.297085421674765</c:v>
                </c:pt>
                <c:pt idx="83">
                  <c:v>75.136295242578541</c:v>
                </c:pt>
                <c:pt idx="84">
                  <c:v>76.023314259106357</c:v>
                </c:pt>
                <c:pt idx="85">
                  <c:v>76.937429595953915</c:v>
                </c:pt>
                <c:pt idx="86">
                  <c:v>77.871560601495361</c:v>
                </c:pt>
                <c:pt idx="87">
                  <c:v>78.832077556295758</c:v>
                </c:pt>
                <c:pt idx="88">
                  <c:v>79.864446381395794</c:v>
                </c:pt>
                <c:pt idx="89">
                  <c:v>80.966741832162484</c:v>
                </c:pt>
                <c:pt idx="90">
                  <c:v>82.140157180525236</c:v>
                </c:pt>
                <c:pt idx="91">
                  <c:v>83.380205892898417</c:v>
                </c:pt>
                <c:pt idx="92">
                  <c:v>84.67995037979216</c:v>
                </c:pt>
                <c:pt idx="93">
                  <c:v>86.0299086525691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321-4139-88D6-247F1D25A657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67.854276378669795</c:v>
                </c:pt>
                <c:pt idx="71">
                  <c:v>68.130069747847188</c:v>
                </c:pt>
                <c:pt idx="72">
                  <c:v>68.495309685037242</c:v>
                </c:pt>
                <c:pt idx="73">
                  <c:v>68.96520688809953</c:v>
                </c:pt>
                <c:pt idx="74">
                  <c:v>69.552283987848625</c:v>
                </c:pt>
                <c:pt idx="75">
                  <c:v>70.229874201965487</c:v>
                </c:pt>
                <c:pt idx="76">
                  <c:v>71.007055464362637</c:v>
                </c:pt>
                <c:pt idx="77">
                  <c:v>71.876085723198187</c:v>
                </c:pt>
                <c:pt idx="78">
                  <c:v>72.828583009355796</c:v>
                </c:pt>
                <c:pt idx="79">
                  <c:v>73.865396556510717</c:v>
                </c:pt>
                <c:pt idx="80">
                  <c:v>74.960815218847813</c:v>
                </c:pt>
                <c:pt idx="81">
                  <c:v>76.103268246395203</c:v>
                </c:pt>
                <c:pt idx="82">
                  <c:v>77.365786197674566</c:v>
                </c:pt>
                <c:pt idx="83">
                  <c:v>78.758096568737955</c:v>
                </c:pt>
                <c:pt idx="84">
                  <c:v>80.296876960087502</c:v>
                </c:pt>
                <c:pt idx="85">
                  <c:v>81.95696416971181</c:v>
                </c:pt>
                <c:pt idx="86">
                  <c:v>83.727538358923454</c:v>
                </c:pt>
                <c:pt idx="87">
                  <c:v>85.594716932407721</c:v>
                </c:pt>
                <c:pt idx="88">
                  <c:v>87.56377786150361</c:v>
                </c:pt>
                <c:pt idx="89">
                  <c:v>89.633525805960801</c:v>
                </c:pt>
                <c:pt idx="90">
                  <c:v>91.806749785079688</c:v>
                </c:pt>
                <c:pt idx="91">
                  <c:v>94.079790832721201</c:v>
                </c:pt>
                <c:pt idx="92">
                  <c:v>96.4460500369903</c:v>
                </c:pt>
                <c:pt idx="93">
                  <c:v>98.8962874124844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321-4139-88D6-247F1D25A657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7</c:v>
                </c:pt>
                <c:pt idx="1">
                  <c:v>77</c:v>
                </c:pt>
                <c:pt idx="2">
                  <c:v>77</c:v>
                </c:pt>
                <c:pt idx="3">
                  <c:v>77</c:v>
                </c:pt>
                <c:pt idx="4">
                  <c:v>77</c:v>
                </c:pt>
                <c:pt idx="5">
                  <c:v>77</c:v>
                </c:pt>
                <c:pt idx="6">
                  <c:v>77</c:v>
                </c:pt>
                <c:pt idx="7">
                  <c:v>77</c:v>
                </c:pt>
                <c:pt idx="8">
                  <c:v>77</c:v>
                </c:pt>
                <c:pt idx="9">
                  <c:v>77</c:v>
                </c:pt>
                <c:pt idx="10">
                  <c:v>77</c:v>
                </c:pt>
                <c:pt idx="11">
                  <c:v>77</c:v>
                </c:pt>
                <c:pt idx="12">
                  <c:v>77</c:v>
                </c:pt>
                <c:pt idx="13">
                  <c:v>77</c:v>
                </c:pt>
                <c:pt idx="14">
                  <c:v>77</c:v>
                </c:pt>
                <c:pt idx="15">
                  <c:v>77</c:v>
                </c:pt>
                <c:pt idx="16">
                  <c:v>77</c:v>
                </c:pt>
                <c:pt idx="17">
                  <c:v>77</c:v>
                </c:pt>
                <c:pt idx="18">
                  <c:v>77</c:v>
                </c:pt>
                <c:pt idx="19">
                  <c:v>77</c:v>
                </c:pt>
                <c:pt idx="20">
                  <c:v>77</c:v>
                </c:pt>
                <c:pt idx="21">
                  <c:v>77</c:v>
                </c:pt>
                <c:pt idx="22">
                  <c:v>77</c:v>
                </c:pt>
                <c:pt idx="23">
                  <c:v>77</c:v>
                </c:pt>
                <c:pt idx="24">
                  <c:v>77</c:v>
                </c:pt>
                <c:pt idx="25">
                  <c:v>77</c:v>
                </c:pt>
                <c:pt idx="26">
                  <c:v>77</c:v>
                </c:pt>
                <c:pt idx="27">
                  <c:v>77</c:v>
                </c:pt>
                <c:pt idx="28">
                  <c:v>77</c:v>
                </c:pt>
                <c:pt idx="29">
                  <c:v>77</c:v>
                </c:pt>
                <c:pt idx="30">
                  <c:v>77</c:v>
                </c:pt>
                <c:pt idx="31">
                  <c:v>77</c:v>
                </c:pt>
                <c:pt idx="32">
                  <c:v>77</c:v>
                </c:pt>
                <c:pt idx="33">
                  <c:v>77</c:v>
                </c:pt>
                <c:pt idx="34">
                  <c:v>77</c:v>
                </c:pt>
                <c:pt idx="35">
                  <c:v>77</c:v>
                </c:pt>
                <c:pt idx="36">
                  <c:v>77</c:v>
                </c:pt>
                <c:pt idx="37">
                  <c:v>77</c:v>
                </c:pt>
                <c:pt idx="38">
                  <c:v>77</c:v>
                </c:pt>
                <c:pt idx="39">
                  <c:v>77</c:v>
                </c:pt>
                <c:pt idx="40">
                  <c:v>77</c:v>
                </c:pt>
                <c:pt idx="41">
                  <c:v>77</c:v>
                </c:pt>
                <c:pt idx="42">
                  <c:v>77</c:v>
                </c:pt>
                <c:pt idx="43">
                  <c:v>77</c:v>
                </c:pt>
                <c:pt idx="44">
                  <c:v>77</c:v>
                </c:pt>
                <c:pt idx="45">
                  <c:v>77</c:v>
                </c:pt>
                <c:pt idx="46">
                  <c:v>77</c:v>
                </c:pt>
                <c:pt idx="47">
                  <c:v>77</c:v>
                </c:pt>
                <c:pt idx="48">
                  <c:v>77</c:v>
                </c:pt>
                <c:pt idx="49">
                  <c:v>77</c:v>
                </c:pt>
                <c:pt idx="50">
                  <c:v>77</c:v>
                </c:pt>
                <c:pt idx="51">
                  <c:v>77</c:v>
                </c:pt>
                <c:pt idx="52">
                  <c:v>77</c:v>
                </c:pt>
                <c:pt idx="53">
                  <c:v>77</c:v>
                </c:pt>
                <c:pt idx="54">
                  <c:v>77</c:v>
                </c:pt>
                <c:pt idx="55">
                  <c:v>77</c:v>
                </c:pt>
                <c:pt idx="56">
                  <c:v>77</c:v>
                </c:pt>
                <c:pt idx="57">
                  <c:v>77</c:v>
                </c:pt>
                <c:pt idx="58">
                  <c:v>77</c:v>
                </c:pt>
                <c:pt idx="59">
                  <c:v>77</c:v>
                </c:pt>
                <c:pt idx="60">
                  <c:v>77</c:v>
                </c:pt>
                <c:pt idx="61">
                  <c:v>77</c:v>
                </c:pt>
                <c:pt idx="62">
                  <c:v>77</c:v>
                </c:pt>
                <c:pt idx="63">
                  <c:v>77</c:v>
                </c:pt>
                <c:pt idx="64">
                  <c:v>77</c:v>
                </c:pt>
                <c:pt idx="65">
                  <c:v>77</c:v>
                </c:pt>
                <c:pt idx="66">
                  <c:v>77</c:v>
                </c:pt>
                <c:pt idx="67">
                  <c:v>77</c:v>
                </c:pt>
                <c:pt idx="68">
                  <c:v>77</c:v>
                </c:pt>
                <c:pt idx="69">
                  <c:v>77</c:v>
                </c:pt>
                <c:pt idx="70">
                  <c:v>77</c:v>
                </c:pt>
                <c:pt idx="71">
                  <c:v>77</c:v>
                </c:pt>
                <c:pt idx="72">
                  <c:v>77</c:v>
                </c:pt>
                <c:pt idx="73">
                  <c:v>77</c:v>
                </c:pt>
                <c:pt idx="74">
                  <c:v>77</c:v>
                </c:pt>
                <c:pt idx="75">
                  <c:v>77</c:v>
                </c:pt>
                <c:pt idx="76">
                  <c:v>77</c:v>
                </c:pt>
                <c:pt idx="77">
                  <c:v>77</c:v>
                </c:pt>
                <c:pt idx="78">
                  <c:v>77</c:v>
                </c:pt>
                <c:pt idx="79">
                  <c:v>77</c:v>
                </c:pt>
                <c:pt idx="80">
                  <c:v>77</c:v>
                </c:pt>
                <c:pt idx="81">
                  <c:v>77</c:v>
                </c:pt>
                <c:pt idx="82">
                  <c:v>77</c:v>
                </c:pt>
                <c:pt idx="83">
                  <c:v>77</c:v>
                </c:pt>
                <c:pt idx="84">
                  <c:v>77</c:v>
                </c:pt>
                <c:pt idx="85">
                  <c:v>77</c:v>
                </c:pt>
                <c:pt idx="86">
                  <c:v>77</c:v>
                </c:pt>
                <c:pt idx="87">
                  <c:v>77</c:v>
                </c:pt>
                <c:pt idx="88">
                  <c:v>77</c:v>
                </c:pt>
                <c:pt idx="89">
                  <c:v>77</c:v>
                </c:pt>
                <c:pt idx="90">
                  <c:v>77</c:v>
                </c:pt>
                <c:pt idx="91">
                  <c:v>77</c:v>
                </c:pt>
                <c:pt idx="92">
                  <c:v>77</c:v>
                </c:pt>
                <c:pt idx="93">
                  <c:v>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21</c:v>
                </c:pt>
                <c:pt idx="1">
                  <c:v>124</c:v>
                </c:pt>
                <c:pt idx="2">
                  <c:v>132</c:v>
                </c:pt>
                <c:pt idx="3">
                  <c:v>139</c:v>
                </c:pt>
                <c:pt idx="4">
                  <c:v>151</c:v>
                </c:pt>
                <c:pt idx="5">
                  <c:v>152</c:v>
                </c:pt>
                <c:pt idx="6">
                  <c:v>138</c:v>
                </c:pt>
                <c:pt idx="7">
                  <c:v>134</c:v>
                </c:pt>
                <c:pt idx="8">
                  <c:v>130</c:v>
                </c:pt>
                <c:pt idx="9">
                  <c:v>133</c:v>
                </c:pt>
                <c:pt idx="10">
                  <c:v>146</c:v>
                </c:pt>
                <c:pt idx="11">
                  <c:v>141</c:v>
                </c:pt>
                <c:pt idx="12">
                  <c:v>141</c:v>
                </c:pt>
                <c:pt idx="13">
                  <c:v>145</c:v>
                </c:pt>
                <c:pt idx="14">
                  <c:v>144</c:v>
                </c:pt>
                <c:pt idx="15">
                  <c:v>147</c:v>
                </c:pt>
                <c:pt idx="16">
                  <c:v>139</c:v>
                </c:pt>
                <c:pt idx="17">
                  <c:v>141</c:v>
                </c:pt>
                <c:pt idx="18">
                  <c:v>133</c:v>
                </c:pt>
                <c:pt idx="19">
                  <c:v>124</c:v>
                </c:pt>
                <c:pt idx="20">
                  <c:v>120</c:v>
                </c:pt>
                <c:pt idx="21">
                  <c:v>120</c:v>
                </c:pt>
                <c:pt idx="22">
                  <c:v>116</c:v>
                </c:pt>
                <c:pt idx="23">
                  <c:v>112</c:v>
                </c:pt>
                <c:pt idx="24">
                  <c:v>116</c:v>
                </c:pt>
                <c:pt idx="25">
                  <c:v>115</c:v>
                </c:pt>
                <c:pt idx="26">
                  <c:v>105</c:v>
                </c:pt>
                <c:pt idx="27">
                  <c:v>103</c:v>
                </c:pt>
                <c:pt idx="28">
                  <c:v>102</c:v>
                </c:pt>
                <c:pt idx="29">
                  <c:v>98</c:v>
                </c:pt>
                <c:pt idx="30">
                  <c:v>94</c:v>
                </c:pt>
                <c:pt idx="31">
                  <c:v>95</c:v>
                </c:pt>
                <c:pt idx="32">
                  <c:v>98</c:v>
                </c:pt>
                <c:pt idx="33">
                  <c:v>96</c:v>
                </c:pt>
                <c:pt idx="34">
                  <c:v>96</c:v>
                </c:pt>
                <c:pt idx="35">
                  <c:v>93</c:v>
                </c:pt>
                <c:pt idx="36">
                  <c:v>87</c:v>
                </c:pt>
                <c:pt idx="37">
                  <c:v>85</c:v>
                </c:pt>
                <c:pt idx="38">
                  <c:v>80</c:v>
                </c:pt>
                <c:pt idx="39">
                  <c:v>79</c:v>
                </c:pt>
                <c:pt idx="40">
                  <c:v>88</c:v>
                </c:pt>
                <c:pt idx="41">
                  <c:v>80</c:v>
                </c:pt>
                <c:pt idx="42">
                  <c:v>87</c:v>
                </c:pt>
                <c:pt idx="43">
                  <c:v>81</c:v>
                </c:pt>
                <c:pt idx="44">
                  <c:v>81</c:v>
                </c:pt>
                <c:pt idx="45">
                  <c:v>79</c:v>
                </c:pt>
                <c:pt idx="46">
                  <c:v>86</c:v>
                </c:pt>
                <c:pt idx="47">
                  <c:v>91</c:v>
                </c:pt>
                <c:pt idx="48">
                  <c:v>94</c:v>
                </c:pt>
                <c:pt idx="49">
                  <c:v>102</c:v>
                </c:pt>
                <c:pt idx="50">
                  <c:v>100</c:v>
                </c:pt>
                <c:pt idx="51">
                  <c:v>105</c:v>
                </c:pt>
                <c:pt idx="52">
                  <c:v>106</c:v>
                </c:pt>
                <c:pt idx="53">
                  <c:v>113</c:v>
                </c:pt>
                <c:pt idx="54">
                  <c:v>116</c:v>
                </c:pt>
                <c:pt idx="55">
                  <c:v>119</c:v>
                </c:pt>
                <c:pt idx="56">
                  <c:v>119</c:v>
                </c:pt>
                <c:pt idx="57">
                  <c:v>113</c:v>
                </c:pt>
                <c:pt idx="58">
                  <c:v>121</c:v>
                </c:pt>
                <c:pt idx="59">
                  <c:v>121</c:v>
                </c:pt>
                <c:pt idx="60">
                  <c:v>128</c:v>
                </c:pt>
                <c:pt idx="61">
                  <c:v>139</c:v>
                </c:pt>
                <c:pt idx="62">
                  <c:v>139</c:v>
                </c:pt>
                <c:pt idx="63">
                  <c:v>130</c:v>
                </c:pt>
                <c:pt idx="64">
                  <c:v>140</c:v>
                </c:pt>
                <c:pt idx="65">
                  <c:v>145</c:v>
                </c:pt>
                <c:pt idx="66">
                  <c:v>160</c:v>
                </c:pt>
                <c:pt idx="67">
                  <c:v>155</c:v>
                </c:pt>
                <c:pt idx="68">
                  <c:v>159</c:v>
                </c:pt>
                <c:pt idx="69">
                  <c:v>163</c:v>
                </c:pt>
                <c:pt idx="70">
                  <c:v>165</c:v>
                </c:pt>
                <c:pt idx="71">
                  <c:v>168</c:v>
                </c:pt>
                <c:pt idx="72">
                  <c:v>175</c:v>
                </c:pt>
                <c:pt idx="73">
                  <c:v>178</c:v>
                </c:pt>
                <c:pt idx="74">
                  <c:v>180</c:v>
                </c:pt>
                <c:pt idx="75">
                  <c:v>171</c:v>
                </c:pt>
                <c:pt idx="76">
                  <c:v>176</c:v>
                </c:pt>
                <c:pt idx="77">
                  <c:v>170</c:v>
                </c:pt>
                <c:pt idx="78">
                  <c:v>171</c:v>
                </c:pt>
                <c:pt idx="79">
                  <c:v>174</c:v>
                </c:pt>
                <c:pt idx="80">
                  <c:v>177</c:v>
                </c:pt>
                <c:pt idx="81">
                  <c:v>184</c:v>
                </c:pt>
                <c:pt idx="82">
                  <c:v>172</c:v>
                </c:pt>
                <c:pt idx="83">
                  <c:v>168</c:v>
                </c:pt>
                <c:pt idx="84">
                  <c:v>158</c:v>
                </c:pt>
                <c:pt idx="85">
                  <c:v>163</c:v>
                </c:pt>
                <c:pt idx="86">
                  <c:v>169</c:v>
                </c:pt>
                <c:pt idx="87">
                  <c:v>179</c:v>
                </c:pt>
                <c:pt idx="88">
                  <c:v>165</c:v>
                </c:pt>
                <c:pt idx="89">
                  <c:v>154</c:v>
                </c:pt>
                <c:pt idx="90">
                  <c:v>154</c:v>
                </c:pt>
                <c:pt idx="91">
                  <c:v>140</c:v>
                </c:pt>
                <c:pt idx="92">
                  <c:v>15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66.47256723159447</c:v>
                </c:pt>
                <c:pt idx="71">
                  <c:v>162.94624904529653</c:v>
                </c:pt>
                <c:pt idx="72">
                  <c:v>159.34455550564368</c:v>
                </c:pt>
                <c:pt idx="73">
                  <c:v>155.6836858101195</c:v>
                </c:pt>
                <c:pt idx="74">
                  <c:v>151.98365370402223</c:v>
                </c:pt>
                <c:pt idx="75">
                  <c:v>148.21018807158072</c:v>
                </c:pt>
                <c:pt idx="76">
                  <c:v>144.44087921916042</c:v>
                </c:pt>
                <c:pt idx="77">
                  <c:v>140.69423923038622</c:v>
                </c:pt>
                <c:pt idx="78">
                  <c:v>136.86194298212644</c:v>
                </c:pt>
                <c:pt idx="79">
                  <c:v>132.98857527752824</c:v>
                </c:pt>
                <c:pt idx="80">
                  <c:v>129.02746058458973</c:v>
                </c:pt>
                <c:pt idx="81">
                  <c:v>124.99308948387855</c:v>
                </c:pt>
                <c:pt idx="82">
                  <c:v>120.99793598148472</c:v>
                </c:pt>
                <c:pt idx="83">
                  <c:v>117.02374953413917</c:v>
                </c:pt>
                <c:pt idx="84">
                  <c:v>113.1345282263357</c:v>
                </c:pt>
                <c:pt idx="85">
                  <c:v>109.30810252256509</c:v>
                </c:pt>
                <c:pt idx="86">
                  <c:v>105.53872866689703</c:v>
                </c:pt>
                <c:pt idx="87">
                  <c:v>101.82743428093121</c:v>
                </c:pt>
                <c:pt idx="88">
                  <c:v>98.181796840222972</c:v>
                </c:pt>
                <c:pt idx="89">
                  <c:v>94.629540233856318</c:v>
                </c:pt>
                <c:pt idx="90">
                  <c:v>91.184754462997972</c:v>
                </c:pt>
                <c:pt idx="91">
                  <c:v>87.859864592024479</c:v>
                </c:pt>
                <c:pt idx="92">
                  <c:v>84.634925694962959</c:v>
                </c:pt>
                <c:pt idx="93">
                  <c:v>81.4918843039448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853-458F-98A4-59C0F3901798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66.89149388918037</c:v>
                </c:pt>
                <c:pt idx="71">
                  <c:v>163.96494444325694</c:v>
                </c:pt>
                <c:pt idx="72">
                  <c:v>161.10669126851045</c:v>
                </c:pt>
                <c:pt idx="73">
                  <c:v>158.34204901728856</c:v>
                </c:pt>
                <c:pt idx="74">
                  <c:v>155.69025876278846</c:v>
                </c:pt>
                <c:pt idx="75">
                  <c:v>153.08936632915191</c:v>
                </c:pt>
                <c:pt idx="76">
                  <c:v>150.60010436808466</c:v>
                </c:pt>
                <c:pt idx="77">
                  <c:v>148.22560638504996</c:v>
                </c:pt>
                <c:pt idx="78">
                  <c:v>145.85430356043514</c:v>
                </c:pt>
                <c:pt idx="79">
                  <c:v>143.51168489222599</c:v>
                </c:pt>
                <c:pt idx="80">
                  <c:v>141.13267570776105</c:v>
                </c:pt>
                <c:pt idx="81">
                  <c:v>138.71111349385006</c:v>
                </c:pt>
                <c:pt idx="82">
                  <c:v>136.33660757507818</c:v>
                </c:pt>
                <c:pt idx="83">
                  <c:v>133.97731259387956</c:v>
                </c:pt>
                <c:pt idx="84">
                  <c:v>131.68787554030982</c:v>
                </c:pt>
                <c:pt idx="85">
                  <c:v>129.43515169769071</c:v>
                </c:pt>
                <c:pt idx="86">
                  <c:v>127.20707485312492</c:v>
                </c:pt>
                <c:pt idx="87">
                  <c:v>124.99617863895485</c:v>
                </c:pt>
                <c:pt idx="88">
                  <c:v>122.80420187795357</c:v>
                </c:pt>
                <c:pt idx="89">
                  <c:v>120.65313863147857</c:v>
                </c:pt>
                <c:pt idx="90">
                  <c:v>118.55204787444006</c:v>
                </c:pt>
                <c:pt idx="91">
                  <c:v>116.50903092177039</c:v>
                </c:pt>
                <c:pt idx="92">
                  <c:v>114.50286053212633</c:v>
                </c:pt>
                <c:pt idx="93">
                  <c:v>112.512749258870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53-458F-98A4-59C0F3901798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70.43918306207843</c:v>
                </c:pt>
                <c:pt idx="71">
                  <c:v>171.13906147894409</c:v>
                </c:pt>
                <c:pt idx="72">
                  <c:v>171.93505937605829</c:v>
                </c:pt>
                <c:pt idx="73">
                  <c:v>172.85846425426848</c:v>
                </c:pt>
                <c:pt idx="74">
                  <c:v>173.94627691457399</c:v>
                </c:pt>
                <c:pt idx="75">
                  <c:v>175.14595615257753</c:v>
                </c:pt>
                <c:pt idx="76">
                  <c:v>176.47500523431731</c:v>
                </c:pt>
                <c:pt idx="77">
                  <c:v>177.93581852045369</c:v>
                </c:pt>
                <c:pt idx="78">
                  <c:v>179.48941476319033</c:v>
                </c:pt>
                <c:pt idx="79">
                  <c:v>181.15665379573272</c:v>
                </c:pt>
                <c:pt idx="80">
                  <c:v>182.87315806514323</c:v>
                </c:pt>
                <c:pt idx="81">
                  <c:v>184.61633199127184</c:v>
                </c:pt>
                <c:pt idx="82">
                  <c:v>186.4346259318776</c:v>
                </c:pt>
                <c:pt idx="83">
                  <c:v>188.3097970743685</c:v>
                </c:pt>
                <c:pt idx="84">
                  <c:v>190.28853569613858</c:v>
                </c:pt>
                <c:pt idx="85">
                  <c:v>192.31679442290559</c:v>
                </c:pt>
                <c:pt idx="86">
                  <c:v>194.37998353874491</c:v>
                </c:pt>
                <c:pt idx="87">
                  <c:v>196.50245526857978</c:v>
                </c:pt>
                <c:pt idx="88">
                  <c:v>198.82131360387319</c:v>
                </c:pt>
                <c:pt idx="89">
                  <c:v>201.32953644698964</c:v>
                </c:pt>
                <c:pt idx="90">
                  <c:v>204.0298967439108</c:v>
                </c:pt>
                <c:pt idx="91">
                  <c:v>206.91085305320158</c:v>
                </c:pt>
                <c:pt idx="92">
                  <c:v>209.9553930048736</c:v>
                </c:pt>
                <c:pt idx="93">
                  <c:v>213.137505611795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853-458F-98A4-59C0F3901798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170.56677521262088</c:v>
                </c:pt>
                <c:pt idx="71">
                  <c:v>171.45597155018345</c:v>
                </c:pt>
                <c:pt idx="72">
                  <c:v>172.50046910118513</c:v>
                </c:pt>
                <c:pt idx="73">
                  <c:v>173.73785027578563</c:v>
                </c:pt>
                <c:pt idx="74">
                  <c:v>175.20988887753361</c:v>
                </c:pt>
                <c:pt idx="75">
                  <c:v>176.8532088931355</c:v>
                </c:pt>
                <c:pt idx="76">
                  <c:v>178.68189353251165</c:v>
                </c:pt>
                <c:pt idx="77">
                  <c:v>180.69851577267963</c:v>
                </c:pt>
                <c:pt idx="78">
                  <c:v>182.8731022863104</c:v>
                </c:pt>
                <c:pt idx="79">
                  <c:v>185.22552788731832</c:v>
                </c:pt>
                <c:pt idx="80">
                  <c:v>187.68815911879807</c:v>
                </c:pt>
                <c:pt idx="81">
                  <c:v>190.23309044552127</c:v>
                </c:pt>
                <c:pt idx="82">
                  <c:v>193.07984590067201</c:v>
                </c:pt>
                <c:pt idx="83">
                  <c:v>196.26259217485324</c:v>
                </c:pt>
                <c:pt idx="84">
                  <c:v>199.82693967592971</c:v>
                </c:pt>
                <c:pt idx="85">
                  <c:v>203.70561454841661</c:v>
                </c:pt>
                <c:pt idx="86">
                  <c:v>207.87293067873316</c:v>
                </c:pt>
                <c:pt idx="87">
                  <c:v>212.29206137916435</c:v>
                </c:pt>
                <c:pt idx="88">
                  <c:v>216.97718297046902</c:v>
                </c:pt>
                <c:pt idx="89">
                  <c:v>221.9226111415461</c:v>
                </c:pt>
                <c:pt idx="90">
                  <c:v>227.13567954532056</c:v>
                </c:pt>
                <c:pt idx="91">
                  <c:v>232.60704251612225</c:v>
                </c:pt>
                <c:pt idx="92">
                  <c:v>238.32067555925838</c:v>
                </c:pt>
                <c:pt idx="93">
                  <c:v>244.251203241688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53-458F-98A4-59C0F390179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42</c:v>
                </c:pt>
                <c:pt idx="1">
                  <c:v>142</c:v>
                </c:pt>
                <c:pt idx="2">
                  <c:v>142</c:v>
                </c:pt>
                <c:pt idx="3">
                  <c:v>142</c:v>
                </c:pt>
                <c:pt idx="4">
                  <c:v>142</c:v>
                </c:pt>
                <c:pt idx="5">
                  <c:v>142</c:v>
                </c:pt>
                <c:pt idx="6">
                  <c:v>142</c:v>
                </c:pt>
                <c:pt idx="7">
                  <c:v>142</c:v>
                </c:pt>
                <c:pt idx="8">
                  <c:v>142</c:v>
                </c:pt>
                <c:pt idx="9">
                  <c:v>142</c:v>
                </c:pt>
                <c:pt idx="10">
                  <c:v>142</c:v>
                </c:pt>
                <c:pt idx="11">
                  <c:v>142</c:v>
                </c:pt>
                <c:pt idx="12">
                  <c:v>142</c:v>
                </c:pt>
                <c:pt idx="13">
                  <c:v>142</c:v>
                </c:pt>
                <c:pt idx="14">
                  <c:v>142</c:v>
                </c:pt>
                <c:pt idx="15">
                  <c:v>142</c:v>
                </c:pt>
                <c:pt idx="16">
                  <c:v>142</c:v>
                </c:pt>
                <c:pt idx="17">
                  <c:v>142</c:v>
                </c:pt>
                <c:pt idx="18">
                  <c:v>142</c:v>
                </c:pt>
                <c:pt idx="19">
                  <c:v>142</c:v>
                </c:pt>
                <c:pt idx="20">
                  <c:v>142</c:v>
                </c:pt>
                <c:pt idx="21">
                  <c:v>142</c:v>
                </c:pt>
                <c:pt idx="22">
                  <c:v>142</c:v>
                </c:pt>
                <c:pt idx="23">
                  <c:v>142</c:v>
                </c:pt>
                <c:pt idx="24">
                  <c:v>142</c:v>
                </c:pt>
                <c:pt idx="25">
                  <c:v>142</c:v>
                </c:pt>
                <c:pt idx="26">
                  <c:v>142</c:v>
                </c:pt>
                <c:pt idx="27">
                  <c:v>142</c:v>
                </c:pt>
                <c:pt idx="28">
                  <c:v>142</c:v>
                </c:pt>
                <c:pt idx="29">
                  <c:v>142</c:v>
                </c:pt>
                <c:pt idx="30">
                  <c:v>142</c:v>
                </c:pt>
                <c:pt idx="31">
                  <c:v>142</c:v>
                </c:pt>
                <c:pt idx="32">
                  <c:v>142</c:v>
                </c:pt>
                <c:pt idx="33">
                  <c:v>142</c:v>
                </c:pt>
                <c:pt idx="34">
                  <c:v>142</c:v>
                </c:pt>
                <c:pt idx="35">
                  <c:v>142</c:v>
                </c:pt>
                <c:pt idx="36">
                  <c:v>142</c:v>
                </c:pt>
                <c:pt idx="37">
                  <c:v>142</c:v>
                </c:pt>
                <c:pt idx="38">
                  <c:v>142</c:v>
                </c:pt>
                <c:pt idx="39">
                  <c:v>142</c:v>
                </c:pt>
                <c:pt idx="40">
                  <c:v>142</c:v>
                </c:pt>
                <c:pt idx="41">
                  <c:v>142</c:v>
                </c:pt>
                <c:pt idx="42">
                  <c:v>142</c:v>
                </c:pt>
                <c:pt idx="43">
                  <c:v>142</c:v>
                </c:pt>
                <c:pt idx="44">
                  <c:v>142</c:v>
                </c:pt>
                <c:pt idx="45">
                  <c:v>142</c:v>
                </c:pt>
                <c:pt idx="46">
                  <c:v>142</c:v>
                </c:pt>
                <c:pt idx="47">
                  <c:v>142</c:v>
                </c:pt>
                <c:pt idx="48">
                  <c:v>142</c:v>
                </c:pt>
                <c:pt idx="49">
                  <c:v>142</c:v>
                </c:pt>
                <c:pt idx="50">
                  <c:v>142</c:v>
                </c:pt>
                <c:pt idx="51">
                  <c:v>142</c:v>
                </c:pt>
                <c:pt idx="52">
                  <c:v>142</c:v>
                </c:pt>
                <c:pt idx="53">
                  <c:v>142</c:v>
                </c:pt>
                <c:pt idx="54">
                  <c:v>142</c:v>
                </c:pt>
                <c:pt idx="55">
                  <c:v>142</c:v>
                </c:pt>
                <c:pt idx="56">
                  <c:v>142</c:v>
                </c:pt>
                <c:pt idx="57">
                  <c:v>142</c:v>
                </c:pt>
                <c:pt idx="58">
                  <c:v>142</c:v>
                </c:pt>
                <c:pt idx="59">
                  <c:v>142</c:v>
                </c:pt>
                <c:pt idx="60">
                  <c:v>142</c:v>
                </c:pt>
                <c:pt idx="61">
                  <c:v>142</c:v>
                </c:pt>
                <c:pt idx="62">
                  <c:v>142</c:v>
                </c:pt>
                <c:pt idx="63">
                  <c:v>142</c:v>
                </c:pt>
                <c:pt idx="64">
                  <c:v>142</c:v>
                </c:pt>
                <c:pt idx="65">
                  <c:v>142</c:v>
                </c:pt>
                <c:pt idx="66">
                  <c:v>142</c:v>
                </c:pt>
                <c:pt idx="67">
                  <c:v>142</c:v>
                </c:pt>
                <c:pt idx="68">
                  <c:v>142</c:v>
                </c:pt>
                <c:pt idx="69">
                  <c:v>142</c:v>
                </c:pt>
                <c:pt idx="70">
                  <c:v>142</c:v>
                </c:pt>
                <c:pt idx="71">
                  <c:v>142</c:v>
                </c:pt>
                <c:pt idx="72">
                  <c:v>142</c:v>
                </c:pt>
                <c:pt idx="73">
                  <c:v>142</c:v>
                </c:pt>
                <c:pt idx="74">
                  <c:v>142</c:v>
                </c:pt>
                <c:pt idx="75">
                  <c:v>142</c:v>
                </c:pt>
                <c:pt idx="76">
                  <c:v>142</c:v>
                </c:pt>
                <c:pt idx="77">
                  <c:v>142</c:v>
                </c:pt>
                <c:pt idx="78">
                  <c:v>142</c:v>
                </c:pt>
                <c:pt idx="79">
                  <c:v>142</c:v>
                </c:pt>
                <c:pt idx="80">
                  <c:v>142</c:v>
                </c:pt>
                <c:pt idx="81">
                  <c:v>142</c:v>
                </c:pt>
                <c:pt idx="82">
                  <c:v>142</c:v>
                </c:pt>
                <c:pt idx="83">
                  <c:v>142</c:v>
                </c:pt>
                <c:pt idx="84">
                  <c:v>142</c:v>
                </c:pt>
                <c:pt idx="85">
                  <c:v>142</c:v>
                </c:pt>
                <c:pt idx="86">
                  <c:v>142</c:v>
                </c:pt>
                <c:pt idx="87">
                  <c:v>142</c:v>
                </c:pt>
                <c:pt idx="88">
                  <c:v>142</c:v>
                </c:pt>
                <c:pt idx="89">
                  <c:v>142</c:v>
                </c:pt>
                <c:pt idx="90">
                  <c:v>142</c:v>
                </c:pt>
                <c:pt idx="91">
                  <c:v>142</c:v>
                </c:pt>
                <c:pt idx="92">
                  <c:v>142</c:v>
                </c:pt>
                <c:pt idx="93">
                  <c:v>1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09</c:v>
                </c:pt>
                <c:pt idx="1">
                  <c:v>209</c:v>
                </c:pt>
                <c:pt idx="2">
                  <c:v>345</c:v>
                </c:pt>
                <c:pt idx="3">
                  <c:v>502</c:v>
                </c:pt>
                <c:pt idx="4">
                  <c:v>656</c:v>
                </c:pt>
                <c:pt idx="5">
                  <c:v>811</c:v>
                </c:pt>
                <c:pt idx="6">
                  <c:v>947</c:v>
                </c:pt>
                <c:pt idx="7">
                  <c:v>1093</c:v>
                </c:pt>
                <c:pt idx="8">
                  <c:v>1223</c:v>
                </c:pt>
                <c:pt idx="9">
                  <c:v>1356</c:v>
                </c:pt>
                <c:pt idx="10">
                  <c:v>1506</c:v>
                </c:pt>
                <c:pt idx="11">
                  <c:v>1644</c:v>
                </c:pt>
                <c:pt idx="12">
                  <c:v>1783</c:v>
                </c:pt>
                <c:pt idx="13">
                  <c:v>1939</c:v>
                </c:pt>
                <c:pt idx="14">
                  <c:v>2078</c:v>
                </c:pt>
                <c:pt idx="15">
                  <c:v>2197</c:v>
                </c:pt>
                <c:pt idx="16">
                  <c:v>2294</c:v>
                </c:pt>
                <c:pt idx="17">
                  <c:v>2430</c:v>
                </c:pt>
                <c:pt idx="18">
                  <c:v>2564</c:v>
                </c:pt>
                <c:pt idx="19">
                  <c:v>2677</c:v>
                </c:pt>
                <c:pt idx="20">
                  <c:v>2799</c:v>
                </c:pt>
                <c:pt idx="21">
                  <c:v>2935</c:v>
                </c:pt>
                <c:pt idx="22">
                  <c:v>3034</c:v>
                </c:pt>
                <c:pt idx="23">
                  <c:v>3122</c:v>
                </c:pt>
                <c:pt idx="24">
                  <c:v>3228</c:v>
                </c:pt>
                <c:pt idx="25">
                  <c:v>3342</c:v>
                </c:pt>
                <c:pt idx="26">
                  <c:v>3442</c:v>
                </c:pt>
                <c:pt idx="27">
                  <c:v>3566</c:v>
                </c:pt>
                <c:pt idx="28">
                  <c:v>3693</c:v>
                </c:pt>
                <c:pt idx="29">
                  <c:v>3804</c:v>
                </c:pt>
                <c:pt idx="30">
                  <c:v>3901</c:v>
                </c:pt>
                <c:pt idx="31">
                  <c:v>4023</c:v>
                </c:pt>
                <c:pt idx="32">
                  <c:v>4163</c:v>
                </c:pt>
                <c:pt idx="33">
                  <c:v>4282</c:v>
                </c:pt>
                <c:pt idx="34">
                  <c:v>4423</c:v>
                </c:pt>
                <c:pt idx="35">
                  <c:v>4549</c:v>
                </c:pt>
                <c:pt idx="36">
                  <c:v>4680</c:v>
                </c:pt>
                <c:pt idx="37">
                  <c:v>4813</c:v>
                </c:pt>
                <c:pt idx="38">
                  <c:v>4941</c:v>
                </c:pt>
                <c:pt idx="39">
                  <c:v>5072</c:v>
                </c:pt>
                <c:pt idx="40">
                  <c:v>5226</c:v>
                </c:pt>
                <c:pt idx="41">
                  <c:v>5384</c:v>
                </c:pt>
                <c:pt idx="42">
                  <c:v>5509</c:v>
                </c:pt>
                <c:pt idx="43">
                  <c:v>5631</c:v>
                </c:pt>
                <c:pt idx="44">
                  <c:v>5752</c:v>
                </c:pt>
                <c:pt idx="45">
                  <c:v>5899</c:v>
                </c:pt>
                <c:pt idx="46">
                  <c:v>6066</c:v>
                </c:pt>
                <c:pt idx="47">
                  <c:v>6229</c:v>
                </c:pt>
                <c:pt idx="48">
                  <c:v>6379</c:v>
                </c:pt>
                <c:pt idx="49">
                  <c:v>6552</c:v>
                </c:pt>
                <c:pt idx="50">
                  <c:v>6686</c:v>
                </c:pt>
                <c:pt idx="51">
                  <c:v>6823</c:v>
                </c:pt>
                <c:pt idx="52">
                  <c:v>7008</c:v>
                </c:pt>
                <c:pt idx="53">
                  <c:v>7182</c:v>
                </c:pt>
                <c:pt idx="54">
                  <c:v>7351</c:v>
                </c:pt>
                <c:pt idx="55">
                  <c:v>7549</c:v>
                </c:pt>
                <c:pt idx="56">
                  <c:v>7709</c:v>
                </c:pt>
                <c:pt idx="57">
                  <c:v>7899</c:v>
                </c:pt>
                <c:pt idx="58">
                  <c:v>8064</c:v>
                </c:pt>
                <c:pt idx="59">
                  <c:v>8304</c:v>
                </c:pt>
                <c:pt idx="60">
                  <c:v>8513</c:v>
                </c:pt>
                <c:pt idx="61">
                  <c:v>8733</c:v>
                </c:pt>
                <c:pt idx="62">
                  <c:v>8946</c:v>
                </c:pt>
                <c:pt idx="63">
                  <c:v>9160</c:v>
                </c:pt>
                <c:pt idx="64">
                  <c:v>9328</c:v>
                </c:pt>
                <c:pt idx="65">
                  <c:v>9503</c:v>
                </c:pt>
                <c:pt idx="66">
                  <c:v>9732</c:v>
                </c:pt>
                <c:pt idx="67">
                  <c:v>9951</c:v>
                </c:pt>
                <c:pt idx="68">
                  <c:v>10184</c:v>
                </c:pt>
                <c:pt idx="69">
                  <c:v>10393</c:v>
                </c:pt>
                <c:pt idx="70">
                  <c:v>10603</c:v>
                </c:pt>
                <c:pt idx="71">
                  <c:v>10780</c:v>
                </c:pt>
                <c:pt idx="72">
                  <c:v>10951</c:v>
                </c:pt>
                <c:pt idx="73">
                  <c:v>11181</c:v>
                </c:pt>
                <c:pt idx="74">
                  <c:v>11392</c:v>
                </c:pt>
                <c:pt idx="75">
                  <c:v>11588</c:v>
                </c:pt>
                <c:pt idx="76">
                  <c:v>11769</c:v>
                </c:pt>
                <c:pt idx="77">
                  <c:v>11927</c:v>
                </c:pt>
                <c:pt idx="78">
                  <c:v>12087</c:v>
                </c:pt>
                <c:pt idx="79">
                  <c:v>12233</c:v>
                </c:pt>
                <c:pt idx="80">
                  <c:v>12424</c:v>
                </c:pt>
                <c:pt idx="81">
                  <c:v>12611</c:v>
                </c:pt>
                <c:pt idx="82">
                  <c:v>12782</c:v>
                </c:pt>
                <c:pt idx="83">
                  <c:v>12975</c:v>
                </c:pt>
                <c:pt idx="84">
                  <c:v>13116</c:v>
                </c:pt>
                <c:pt idx="85">
                  <c:v>13248</c:v>
                </c:pt>
                <c:pt idx="86">
                  <c:v>13377</c:v>
                </c:pt>
                <c:pt idx="87">
                  <c:v>13536</c:v>
                </c:pt>
                <c:pt idx="88">
                  <c:v>13678</c:v>
                </c:pt>
                <c:pt idx="89">
                  <c:v>13817</c:v>
                </c:pt>
                <c:pt idx="90">
                  <c:v>13945</c:v>
                </c:pt>
                <c:pt idx="91">
                  <c:v>14041</c:v>
                </c:pt>
                <c:pt idx="92">
                  <c:v>14132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0529.657676459745</c:v>
                </c:pt>
                <c:pt idx="71">
                  <c:v>10679.325856248517</c:v>
                </c:pt>
                <c:pt idx="72">
                  <c:v>10825.846034098096</c:v>
                </c:pt>
                <c:pt idx="73">
                  <c:v>10969.048767206828</c:v>
                </c:pt>
                <c:pt idx="74">
                  <c:v>11108.554566792725</c:v>
                </c:pt>
                <c:pt idx="75">
                  <c:v>11244.315715793244</c:v>
                </c:pt>
                <c:pt idx="76">
                  <c:v>11376.560621433191</c:v>
                </c:pt>
                <c:pt idx="77">
                  <c:v>11505.211038651458</c:v>
                </c:pt>
                <c:pt idx="78">
                  <c:v>11629.802047619793</c:v>
                </c:pt>
                <c:pt idx="79">
                  <c:v>11749.8627352035</c:v>
                </c:pt>
                <c:pt idx="80">
                  <c:v>11865.391092632948</c:v>
                </c:pt>
                <c:pt idx="81">
                  <c:v>11976.560543439786</c:v>
                </c:pt>
                <c:pt idx="82">
                  <c:v>12083.737296117961</c:v>
                </c:pt>
                <c:pt idx="83">
                  <c:v>12187.038068723192</c:v>
                </c:pt>
                <c:pt idx="84">
                  <c:v>12286.610399998825</c:v>
                </c:pt>
                <c:pt idx="85">
                  <c:v>12382.516336292763</c:v>
                </c:pt>
                <c:pt idx="86">
                  <c:v>12474.830895098801</c:v>
                </c:pt>
                <c:pt idx="87">
                  <c:v>12563.642995630271</c:v>
                </c:pt>
                <c:pt idx="88">
                  <c:v>12649.149597799184</c:v>
                </c:pt>
                <c:pt idx="89">
                  <c:v>12731.470751394332</c:v>
                </c:pt>
                <c:pt idx="90">
                  <c:v>12810.677082854927</c:v>
                </c:pt>
                <c:pt idx="91">
                  <c:v>12886.857806341166</c:v>
                </c:pt>
                <c:pt idx="92">
                  <c:v>12960.146702356331</c:v>
                </c:pt>
                <c:pt idx="93">
                  <c:v>13030.6649363653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908-4AD1-9874-A186BE69DB4A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0534.369538560699</c:v>
                </c:pt>
                <c:pt idx="71">
                  <c:v>10691.134820932171</c:v>
                </c:pt>
                <c:pt idx="72">
                  <c:v>10846.914161746452</c:v>
                </c:pt>
                <c:pt idx="73">
                  <c:v>11001.783317156187</c:v>
                </c:pt>
                <c:pt idx="74">
                  <c:v>11155.498346475108</c:v>
                </c:pt>
                <c:pt idx="75">
                  <c:v>11307.83633438986</c:v>
                </c:pt>
                <c:pt idx="76">
                  <c:v>11458.984498209385</c:v>
                </c:pt>
                <c:pt idx="77">
                  <c:v>11608.812915085724</c:v>
                </c:pt>
                <c:pt idx="78">
                  <c:v>11756.886577819505</c:v>
                </c:pt>
                <c:pt idx="79">
                  <c:v>11902.642305138232</c:v>
                </c:pt>
                <c:pt idx="80">
                  <c:v>12045.951542192855</c:v>
                </c:pt>
                <c:pt idx="81">
                  <c:v>12186.819433914632</c:v>
                </c:pt>
                <c:pt idx="82">
                  <c:v>12325.408717791765</c:v>
                </c:pt>
                <c:pt idx="83">
                  <c:v>12461.71444183425</c:v>
                </c:pt>
                <c:pt idx="84">
                  <c:v>12595.795051183759</c:v>
                </c:pt>
                <c:pt idx="85">
                  <c:v>12727.608717394138</c:v>
                </c:pt>
                <c:pt idx="86">
                  <c:v>12857.145381315066</c:v>
                </c:pt>
                <c:pt idx="87">
                  <c:v>12984.386508185244</c:v>
                </c:pt>
                <c:pt idx="88">
                  <c:v>13109.434673630745</c:v>
                </c:pt>
                <c:pt idx="89">
                  <c:v>13232.319356167158</c:v>
                </c:pt>
                <c:pt idx="90">
                  <c:v>13353.024665911928</c:v>
                </c:pt>
                <c:pt idx="91">
                  <c:v>13471.555234546773</c:v>
                </c:pt>
                <c:pt idx="92">
                  <c:v>13587.974942206267</c:v>
                </c:pt>
                <c:pt idx="93">
                  <c:v>13702.3117633427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08-4AD1-9874-A186BE69DB4A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0570.651600517025</c:v>
                </c:pt>
                <c:pt idx="71">
                  <c:v>10767.338753931617</c:v>
                </c:pt>
                <c:pt idx="72">
                  <c:v>10966.865009853909</c:v>
                </c:pt>
                <c:pt idx="73">
                  <c:v>11169.353518286023</c:v>
                </c:pt>
                <c:pt idx="74">
                  <c:v>11374.97941554667</c:v>
                </c:pt>
                <c:pt idx="75">
                  <c:v>11583.513029208098</c:v>
                </c:pt>
                <c:pt idx="76">
                  <c:v>11795.187697829788</c:v>
                </c:pt>
                <c:pt idx="77">
                  <c:v>12009.913880685099</c:v>
                </c:pt>
                <c:pt idx="78">
                  <c:v>12227.642244179429</c:v>
                </c:pt>
                <c:pt idx="79">
                  <c:v>12448.226506230736</c:v>
                </c:pt>
                <c:pt idx="80">
                  <c:v>12671.665421029518</c:v>
                </c:pt>
                <c:pt idx="81">
                  <c:v>12897.836826786923</c:v>
                </c:pt>
                <c:pt idx="82">
                  <c:v>13126.635032700568</c:v>
                </c:pt>
                <c:pt idx="83">
                  <c:v>13358.149828188089</c:v>
                </c:pt>
                <c:pt idx="84">
                  <c:v>13592.511850696392</c:v>
                </c:pt>
                <c:pt idx="85">
                  <c:v>13829.725358333155</c:v>
                </c:pt>
                <c:pt idx="86">
                  <c:v>14069.750995943596</c:v>
                </c:pt>
                <c:pt idx="87">
                  <c:v>14312.987946524818</c:v>
                </c:pt>
                <c:pt idx="88">
                  <c:v>14560.688273928987</c:v>
                </c:pt>
                <c:pt idx="89">
                  <c:v>14812.948126805644</c:v>
                </c:pt>
                <c:pt idx="90">
                  <c:v>15069.818054756139</c:v>
                </c:pt>
                <c:pt idx="91">
                  <c:v>15331.33944429148</c:v>
                </c:pt>
                <c:pt idx="92">
                  <c:v>15597.592154744067</c:v>
                </c:pt>
                <c:pt idx="93">
                  <c:v>15868.6056109597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908-4AD1-9874-A186BE69DB4A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10572.195834074539</c:v>
                </c:pt>
                <c:pt idx="71">
                  <c:v>10771.304219094034</c:v>
                </c:pt>
                <c:pt idx="72">
                  <c:v>10974.161857701709</c:v>
                </c:pt>
                <c:pt idx="73">
                  <c:v>11181.039617275481</c:v>
                </c:pt>
                <c:pt idx="74">
                  <c:v>11392.236229641516</c:v>
                </c:pt>
                <c:pt idx="75">
                  <c:v>11607.465848827551</c:v>
                </c:pt>
                <c:pt idx="76">
                  <c:v>11826.991030695637</c:v>
                </c:pt>
                <c:pt idx="77">
                  <c:v>12050.794276853308</c:v>
                </c:pt>
                <c:pt idx="78">
                  <c:v>12278.992873549549</c:v>
                </c:pt>
                <c:pt idx="79">
                  <c:v>12511.510035193649</c:v>
                </c:pt>
                <c:pt idx="80">
                  <c:v>12748.376014332522</c:v>
                </c:pt>
                <c:pt idx="81">
                  <c:v>12989.477083238515</c:v>
                </c:pt>
                <c:pt idx="82">
                  <c:v>13236.463579371255</c:v>
                </c:pt>
                <c:pt idx="83">
                  <c:v>13490.120508090586</c:v>
                </c:pt>
                <c:pt idx="84">
                  <c:v>13750.810993061084</c:v>
                </c:pt>
                <c:pt idx="85">
                  <c:v>14018.648629662808</c:v>
                </c:pt>
                <c:pt idx="86">
                  <c:v>14293.713435141888</c:v>
                </c:pt>
                <c:pt idx="87">
                  <c:v>14576.014025992667</c:v>
                </c:pt>
                <c:pt idx="88">
                  <c:v>14865.790169931795</c:v>
                </c:pt>
                <c:pt idx="89">
                  <c:v>15163.276139822221</c:v>
                </c:pt>
                <c:pt idx="90">
                  <c:v>15468.653118509974</c:v>
                </c:pt>
                <c:pt idx="91">
                  <c:v>15782.08589315364</c:v>
                </c:pt>
                <c:pt idx="92">
                  <c:v>16103.770621105137</c:v>
                </c:pt>
                <c:pt idx="93">
                  <c:v>16433.8442401124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8</c:v>
                </c:pt>
                <c:pt idx="1">
                  <c:v>37</c:v>
                </c:pt>
                <c:pt idx="2">
                  <c:v>66</c:v>
                </c:pt>
                <c:pt idx="3">
                  <c:v>97</c:v>
                </c:pt>
                <c:pt idx="4">
                  <c:v>114</c:v>
                </c:pt>
                <c:pt idx="5">
                  <c:v>137</c:v>
                </c:pt>
                <c:pt idx="6">
                  <c:v>157</c:v>
                </c:pt>
                <c:pt idx="7">
                  <c:v>179</c:v>
                </c:pt>
                <c:pt idx="8">
                  <c:v>200</c:v>
                </c:pt>
                <c:pt idx="9">
                  <c:v>215</c:v>
                </c:pt>
                <c:pt idx="10">
                  <c:v>229</c:v>
                </c:pt>
                <c:pt idx="11">
                  <c:v>246</c:v>
                </c:pt>
                <c:pt idx="12">
                  <c:v>271</c:v>
                </c:pt>
                <c:pt idx="13">
                  <c:v>292</c:v>
                </c:pt>
                <c:pt idx="14">
                  <c:v>309</c:v>
                </c:pt>
                <c:pt idx="15">
                  <c:v>324</c:v>
                </c:pt>
                <c:pt idx="16">
                  <c:v>337</c:v>
                </c:pt>
                <c:pt idx="17">
                  <c:v>354</c:v>
                </c:pt>
                <c:pt idx="18">
                  <c:v>373</c:v>
                </c:pt>
                <c:pt idx="19">
                  <c:v>384</c:v>
                </c:pt>
                <c:pt idx="20">
                  <c:v>402</c:v>
                </c:pt>
                <c:pt idx="21">
                  <c:v>416</c:v>
                </c:pt>
                <c:pt idx="22">
                  <c:v>426</c:v>
                </c:pt>
                <c:pt idx="23">
                  <c:v>435</c:v>
                </c:pt>
                <c:pt idx="24">
                  <c:v>449</c:v>
                </c:pt>
                <c:pt idx="25">
                  <c:v>461</c:v>
                </c:pt>
                <c:pt idx="26">
                  <c:v>481</c:v>
                </c:pt>
                <c:pt idx="27">
                  <c:v>498</c:v>
                </c:pt>
                <c:pt idx="28">
                  <c:v>516</c:v>
                </c:pt>
                <c:pt idx="29">
                  <c:v>536</c:v>
                </c:pt>
                <c:pt idx="30">
                  <c:v>556</c:v>
                </c:pt>
                <c:pt idx="31">
                  <c:v>570</c:v>
                </c:pt>
                <c:pt idx="32">
                  <c:v>588</c:v>
                </c:pt>
                <c:pt idx="33">
                  <c:v>614</c:v>
                </c:pt>
                <c:pt idx="34">
                  <c:v>641</c:v>
                </c:pt>
                <c:pt idx="35">
                  <c:v>657</c:v>
                </c:pt>
                <c:pt idx="36">
                  <c:v>682</c:v>
                </c:pt>
                <c:pt idx="37">
                  <c:v>710</c:v>
                </c:pt>
                <c:pt idx="38">
                  <c:v>734</c:v>
                </c:pt>
                <c:pt idx="39">
                  <c:v>755</c:v>
                </c:pt>
                <c:pt idx="40">
                  <c:v>778</c:v>
                </c:pt>
                <c:pt idx="41">
                  <c:v>798</c:v>
                </c:pt>
                <c:pt idx="42">
                  <c:v>825</c:v>
                </c:pt>
                <c:pt idx="43">
                  <c:v>859</c:v>
                </c:pt>
                <c:pt idx="44">
                  <c:v>882</c:v>
                </c:pt>
                <c:pt idx="45">
                  <c:v>896</c:v>
                </c:pt>
                <c:pt idx="46">
                  <c:v>923</c:v>
                </c:pt>
                <c:pt idx="47">
                  <c:v>943</c:v>
                </c:pt>
                <c:pt idx="48">
                  <c:v>968</c:v>
                </c:pt>
                <c:pt idx="49">
                  <c:v>1001</c:v>
                </c:pt>
                <c:pt idx="50">
                  <c:v>1026</c:v>
                </c:pt>
                <c:pt idx="51">
                  <c:v>1049</c:v>
                </c:pt>
                <c:pt idx="52">
                  <c:v>1089</c:v>
                </c:pt>
                <c:pt idx="53">
                  <c:v>1123</c:v>
                </c:pt>
                <c:pt idx="54">
                  <c:v>1149</c:v>
                </c:pt>
                <c:pt idx="55">
                  <c:v>1188</c:v>
                </c:pt>
                <c:pt idx="56">
                  <c:v>1208</c:v>
                </c:pt>
                <c:pt idx="57">
                  <c:v>1239</c:v>
                </c:pt>
                <c:pt idx="58">
                  <c:v>1279</c:v>
                </c:pt>
                <c:pt idx="59">
                  <c:v>1320</c:v>
                </c:pt>
                <c:pt idx="60">
                  <c:v>1353</c:v>
                </c:pt>
                <c:pt idx="61">
                  <c:v>1391</c:v>
                </c:pt>
                <c:pt idx="62">
                  <c:v>1418</c:v>
                </c:pt>
                <c:pt idx="63">
                  <c:v>1454</c:v>
                </c:pt>
                <c:pt idx="64">
                  <c:v>1478</c:v>
                </c:pt>
                <c:pt idx="65">
                  <c:v>1512</c:v>
                </c:pt>
                <c:pt idx="66">
                  <c:v>1548</c:v>
                </c:pt>
                <c:pt idx="67">
                  <c:v>1569</c:v>
                </c:pt>
                <c:pt idx="68">
                  <c:v>1604</c:v>
                </c:pt>
                <c:pt idx="69">
                  <c:v>1637</c:v>
                </c:pt>
                <c:pt idx="70">
                  <c:v>1678</c:v>
                </c:pt>
                <c:pt idx="71">
                  <c:v>1723</c:v>
                </c:pt>
                <c:pt idx="72">
                  <c:v>1754</c:v>
                </c:pt>
                <c:pt idx="73">
                  <c:v>1789</c:v>
                </c:pt>
                <c:pt idx="74">
                  <c:v>1827</c:v>
                </c:pt>
                <c:pt idx="75">
                  <c:v>1861</c:v>
                </c:pt>
                <c:pt idx="76">
                  <c:v>1890</c:v>
                </c:pt>
                <c:pt idx="77">
                  <c:v>1914</c:v>
                </c:pt>
                <c:pt idx="78">
                  <c:v>1940</c:v>
                </c:pt>
                <c:pt idx="79">
                  <c:v>1971</c:v>
                </c:pt>
                <c:pt idx="80">
                  <c:v>2004</c:v>
                </c:pt>
                <c:pt idx="81">
                  <c:v>2047</c:v>
                </c:pt>
                <c:pt idx="82">
                  <c:v>2074</c:v>
                </c:pt>
                <c:pt idx="83">
                  <c:v>2106</c:v>
                </c:pt>
                <c:pt idx="84">
                  <c:v>2130</c:v>
                </c:pt>
                <c:pt idx="85">
                  <c:v>2150</c:v>
                </c:pt>
                <c:pt idx="86">
                  <c:v>2188</c:v>
                </c:pt>
                <c:pt idx="87">
                  <c:v>2207</c:v>
                </c:pt>
                <c:pt idx="88">
                  <c:v>2231</c:v>
                </c:pt>
                <c:pt idx="89">
                  <c:v>2249</c:v>
                </c:pt>
                <c:pt idx="90">
                  <c:v>2270</c:v>
                </c:pt>
                <c:pt idx="91">
                  <c:v>2283</c:v>
                </c:pt>
                <c:pt idx="92">
                  <c:v>2294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663.1885310360979</c:v>
                </c:pt>
                <c:pt idx="71">
                  <c:v>1687.8834574816333</c:v>
                </c:pt>
                <c:pt idx="72">
                  <c:v>1712.0583546415139</c:v>
                </c:pt>
                <c:pt idx="73">
                  <c:v>1735.6866717283426</c:v>
                </c:pt>
                <c:pt idx="74">
                  <c:v>1758.70594472985</c:v>
                </c:pt>
                <c:pt idx="75">
                  <c:v>1781.1075775820204</c:v>
                </c:pt>
                <c:pt idx="76">
                  <c:v>1802.9287152486854</c:v>
                </c:pt>
                <c:pt idx="77">
                  <c:v>1824.1566762609557</c:v>
                </c:pt>
                <c:pt idx="78">
                  <c:v>1844.715281963106</c:v>
                </c:pt>
                <c:pt idx="79">
                  <c:v>1864.5263163329455</c:v>
                </c:pt>
                <c:pt idx="80">
                  <c:v>1883.5890659924389</c:v>
                </c:pt>
                <c:pt idx="81">
                  <c:v>1901.9322135694888</c:v>
                </c:pt>
                <c:pt idx="82">
                  <c:v>1919.6165004612008</c:v>
                </c:pt>
                <c:pt idx="83">
                  <c:v>1936.661232971441</c:v>
                </c:pt>
                <c:pt idx="84">
                  <c:v>1953.0907725214217</c:v>
                </c:pt>
                <c:pt idx="85">
                  <c:v>1968.9153101823426</c:v>
                </c:pt>
                <c:pt idx="86">
                  <c:v>1984.1473413523279</c:v>
                </c:pt>
                <c:pt idx="87">
                  <c:v>1998.8014260375676</c:v>
                </c:pt>
                <c:pt idx="88">
                  <c:v>2012.910115526842</c:v>
                </c:pt>
                <c:pt idx="89">
                  <c:v>2026.493162528951</c:v>
                </c:pt>
                <c:pt idx="90">
                  <c:v>2039.5622201384672</c:v>
                </c:pt>
                <c:pt idx="91">
                  <c:v>2052.1319986944318</c:v>
                </c:pt>
                <c:pt idx="92">
                  <c:v>2064.2246445428532</c:v>
                </c:pt>
                <c:pt idx="93">
                  <c:v>2075.86015884064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69-433F-AC8B-396B88F7C2EB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663.9657727887361</c:v>
                </c:pt>
                <c:pt idx="71">
                  <c:v>1689.8314428749986</c:v>
                </c:pt>
                <c:pt idx="72">
                  <c:v>1715.5336766184673</c:v>
                </c:pt>
                <c:pt idx="73">
                  <c:v>1741.0864786736665</c:v>
                </c:pt>
                <c:pt idx="74">
                  <c:v>1766.4496836485539</c:v>
                </c:pt>
                <c:pt idx="75">
                  <c:v>1791.5858605944084</c:v>
                </c:pt>
                <c:pt idx="76">
                  <c:v>1816.5254583356877</c:v>
                </c:pt>
                <c:pt idx="77">
                  <c:v>1841.247400837166</c:v>
                </c:pt>
                <c:pt idx="78">
                  <c:v>1865.6803789615367</c:v>
                </c:pt>
                <c:pt idx="79">
                  <c:v>1889.7309264744804</c:v>
                </c:pt>
                <c:pt idx="80">
                  <c:v>1913.3774343338023</c:v>
                </c:pt>
                <c:pt idx="81">
                  <c:v>1936.6208023906638</c:v>
                </c:pt>
                <c:pt idx="82">
                  <c:v>1959.4882176082656</c:v>
                </c:pt>
                <c:pt idx="83">
                  <c:v>1981.9788120678159</c:v>
                </c:pt>
                <c:pt idx="84">
                  <c:v>2004.1022456909986</c:v>
                </c:pt>
                <c:pt idx="85">
                  <c:v>2025.8515873593385</c:v>
                </c:pt>
                <c:pt idx="86">
                  <c:v>2047.2252998426927</c:v>
                </c:pt>
                <c:pt idx="87">
                  <c:v>2068.2202063932828</c:v>
                </c:pt>
                <c:pt idx="88">
                  <c:v>2088.8532901271328</c:v>
                </c:pt>
                <c:pt idx="89">
                  <c:v>2109.1293488411106</c:v>
                </c:pt>
                <c:pt idx="90">
                  <c:v>2129.0457728299352</c:v>
                </c:pt>
                <c:pt idx="91">
                  <c:v>2148.6033012728776</c:v>
                </c:pt>
                <c:pt idx="92">
                  <c:v>2167.8125594752046</c:v>
                </c:pt>
                <c:pt idx="93">
                  <c:v>2186.67815497627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69-433F-AC8B-396B88F7C2EB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670.0203533274919</c:v>
                </c:pt>
                <c:pt idx="71">
                  <c:v>1702.5373035785951</c:v>
                </c:pt>
                <c:pt idx="72">
                  <c:v>1735.5187127334686</c:v>
                </c:pt>
                <c:pt idx="73">
                  <c:v>1768.9847273401256</c:v>
                </c:pt>
                <c:pt idx="74">
                  <c:v>1802.9639985734984</c:v>
                </c:pt>
                <c:pt idx="75">
                  <c:v>1837.4189535020948</c:v>
                </c:pt>
                <c:pt idx="76">
                  <c:v>1872.3877648129705</c:v>
                </c:pt>
                <c:pt idx="77">
                  <c:v>1907.8557842193422</c:v>
                </c:pt>
                <c:pt idx="78">
                  <c:v>1943.8149410625408</c:v>
                </c:pt>
                <c:pt idx="79">
                  <c:v>1980.2413045351075</c:v>
                </c:pt>
                <c:pt idx="80">
                  <c:v>2017.134670830623</c:v>
                </c:pt>
                <c:pt idx="81">
                  <c:v>2054.4750550664075</c:v>
                </c:pt>
                <c:pt idx="82">
                  <c:v>2092.2451669071952</c:v>
                </c:pt>
                <c:pt idx="83">
                  <c:v>2130.4596953240148</c:v>
                </c:pt>
                <c:pt idx="84">
                  <c:v>2169.1400117626727</c:v>
                </c:pt>
                <c:pt idx="85">
                  <c:v>2208.2868128221894</c:v>
                </c:pt>
                <c:pt idx="86">
                  <c:v>2247.8936602524486</c:v>
                </c:pt>
                <c:pt idx="87">
                  <c:v>2288.0274556097565</c:v>
                </c:pt>
                <c:pt idx="88">
                  <c:v>2328.8977203668287</c:v>
                </c:pt>
                <c:pt idx="89">
                  <c:v>2370.5202331970654</c:v>
                </c:pt>
                <c:pt idx="90">
                  <c:v>2412.9033747514859</c:v>
                </c:pt>
                <c:pt idx="91">
                  <c:v>2456.0539202361974</c:v>
                </c:pt>
                <c:pt idx="92">
                  <c:v>2499.9851563193729</c:v>
                </c:pt>
                <c:pt idx="93">
                  <c:v>2544.70189191305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269-433F-AC8B-396B88F7C2EB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1670.2729800020634</c:v>
                </c:pt>
                <c:pt idx="71">
                  <c:v>1703.1860281657773</c:v>
                </c:pt>
                <c:pt idx="72">
                  <c:v>1736.7124300942112</c:v>
                </c:pt>
                <c:pt idx="73">
                  <c:v>1770.8964979476596</c:v>
                </c:pt>
                <c:pt idx="74">
                  <c:v>1805.7871023308739</c:v>
                </c:pt>
                <c:pt idx="75">
                  <c:v>1841.3374806818956</c:v>
                </c:pt>
                <c:pt idx="76">
                  <c:v>1877.5905854504986</c:v>
                </c:pt>
                <c:pt idx="77">
                  <c:v>1914.5435540122585</c:v>
                </c:pt>
                <c:pt idx="78">
                  <c:v>1952.2155736429017</c:v>
                </c:pt>
                <c:pt idx="79">
                  <c:v>1990.5940827138186</c:v>
                </c:pt>
                <c:pt idx="80">
                  <c:v>2029.6840303470422</c:v>
                </c:pt>
                <c:pt idx="81">
                  <c:v>2069.4668114180413</c:v>
                </c:pt>
                <c:pt idx="82">
                  <c:v>2110.2192773159736</c:v>
                </c:pt>
                <c:pt idx="83">
                  <c:v>2152.0722575386098</c:v>
                </c:pt>
                <c:pt idx="84">
                  <c:v>2195.0856858348502</c:v>
                </c:pt>
                <c:pt idx="85">
                  <c:v>2239.2783289781555</c:v>
                </c:pt>
                <c:pt idx="86">
                  <c:v>2284.6635281529893</c:v>
                </c:pt>
                <c:pt idx="87">
                  <c:v>2331.2425653746859</c:v>
                </c:pt>
                <c:pt idx="88">
                  <c:v>2379.0550702980772</c:v>
                </c:pt>
                <c:pt idx="89">
                  <c:v>2428.1396072629486</c:v>
                </c:pt>
                <c:pt idx="90">
                  <c:v>2478.5261191953009</c:v>
                </c:pt>
                <c:pt idx="91">
                  <c:v>2530.2417351475988</c:v>
                </c:pt>
                <c:pt idx="92">
                  <c:v>2583.3189362770927</c:v>
                </c:pt>
                <c:pt idx="93">
                  <c:v>2637.780260994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4</c:v>
                </c:pt>
                <c:pt idx="1">
                  <c:v>19</c:v>
                </c:pt>
                <c:pt idx="2">
                  <c:v>32</c:v>
                </c:pt>
                <c:pt idx="3">
                  <c:v>40</c:v>
                </c:pt>
                <c:pt idx="4">
                  <c:v>54</c:v>
                </c:pt>
                <c:pt idx="5">
                  <c:v>70</c:v>
                </c:pt>
                <c:pt idx="6">
                  <c:v>81</c:v>
                </c:pt>
                <c:pt idx="7">
                  <c:v>96</c:v>
                </c:pt>
                <c:pt idx="8">
                  <c:v>105</c:v>
                </c:pt>
                <c:pt idx="9">
                  <c:v>118</c:v>
                </c:pt>
                <c:pt idx="10">
                  <c:v>138</c:v>
                </c:pt>
                <c:pt idx="11">
                  <c:v>148</c:v>
                </c:pt>
                <c:pt idx="12">
                  <c:v>162</c:v>
                </c:pt>
                <c:pt idx="13">
                  <c:v>176</c:v>
                </c:pt>
                <c:pt idx="14">
                  <c:v>189</c:v>
                </c:pt>
                <c:pt idx="15">
                  <c:v>195</c:v>
                </c:pt>
                <c:pt idx="16">
                  <c:v>203</c:v>
                </c:pt>
                <c:pt idx="17">
                  <c:v>214</c:v>
                </c:pt>
                <c:pt idx="18">
                  <c:v>224</c:v>
                </c:pt>
                <c:pt idx="19">
                  <c:v>235</c:v>
                </c:pt>
                <c:pt idx="20">
                  <c:v>250</c:v>
                </c:pt>
                <c:pt idx="21">
                  <c:v>260</c:v>
                </c:pt>
                <c:pt idx="22">
                  <c:v>270</c:v>
                </c:pt>
                <c:pt idx="23">
                  <c:v>277</c:v>
                </c:pt>
                <c:pt idx="24">
                  <c:v>287</c:v>
                </c:pt>
                <c:pt idx="25">
                  <c:v>298</c:v>
                </c:pt>
                <c:pt idx="26">
                  <c:v>303</c:v>
                </c:pt>
                <c:pt idx="27">
                  <c:v>319</c:v>
                </c:pt>
                <c:pt idx="28">
                  <c:v>323</c:v>
                </c:pt>
                <c:pt idx="29">
                  <c:v>333</c:v>
                </c:pt>
                <c:pt idx="30">
                  <c:v>340</c:v>
                </c:pt>
                <c:pt idx="31">
                  <c:v>356</c:v>
                </c:pt>
                <c:pt idx="32">
                  <c:v>370</c:v>
                </c:pt>
                <c:pt idx="33">
                  <c:v>384</c:v>
                </c:pt>
                <c:pt idx="34">
                  <c:v>397</c:v>
                </c:pt>
                <c:pt idx="35">
                  <c:v>408</c:v>
                </c:pt>
                <c:pt idx="36">
                  <c:v>419</c:v>
                </c:pt>
                <c:pt idx="37">
                  <c:v>434</c:v>
                </c:pt>
                <c:pt idx="38">
                  <c:v>446</c:v>
                </c:pt>
                <c:pt idx="39">
                  <c:v>461</c:v>
                </c:pt>
                <c:pt idx="40">
                  <c:v>475</c:v>
                </c:pt>
                <c:pt idx="41">
                  <c:v>493</c:v>
                </c:pt>
                <c:pt idx="42">
                  <c:v>510</c:v>
                </c:pt>
                <c:pt idx="43">
                  <c:v>520</c:v>
                </c:pt>
                <c:pt idx="44">
                  <c:v>535</c:v>
                </c:pt>
                <c:pt idx="45">
                  <c:v>560</c:v>
                </c:pt>
                <c:pt idx="46">
                  <c:v>579</c:v>
                </c:pt>
                <c:pt idx="47">
                  <c:v>588</c:v>
                </c:pt>
                <c:pt idx="48">
                  <c:v>608</c:v>
                </c:pt>
                <c:pt idx="49">
                  <c:v>625</c:v>
                </c:pt>
                <c:pt idx="50">
                  <c:v>638</c:v>
                </c:pt>
                <c:pt idx="51">
                  <c:v>653</c:v>
                </c:pt>
                <c:pt idx="52">
                  <c:v>671</c:v>
                </c:pt>
                <c:pt idx="53">
                  <c:v>690</c:v>
                </c:pt>
                <c:pt idx="54">
                  <c:v>706</c:v>
                </c:pt>
                <c:pt idx="55">
                  <c:v>721</c:v>
                </c:pt>
                <c:pt idx="56">
                  <c:v>737</c:v>
                </c:pt>
                <c:pt idx="57">
                  <c:v>759</c:v>
                </c:pt>
                <c:pt idx="58">
                  <c:v>778</c:v>
                </c:pt>
                <c:pt idx="59">
                  <c:v>797</c:v>
                </c:pt>
                <c:pt idx="60">
                  <c:v>818</c:v>
                </c:pt>
                <c:pt idx="61">
                  <c:v>844</c:v>
                </c:pt>
                <c:pt idx="62">
                  <c:v>861</c:v>
                </c:pt>
                <c:pt idx="63">
                  <c:v>893</c:v>
                </c:pt>
                <c:pt idx="64">
                  <c:v>909</c:v>
                </c:pt>
                <c:pt idx="65">
                  <c:v>922</c:v>
                </c:pt>
                <c:pt idx="66">
                  <c:v>941</c:v>
                </c:pt>
                <c:pt idx="67">
                  <c:v>962</c:v>
                </c:pt>
                <c:pt idx="68">
                  <c:v>994</c:v>
                </c:pt>
                <c:pt idx="69">
                  <c:v>1021</c:v>
                </c:pt>
                <c:pt idx="70">
                  <c:v>1037</c:v>
                </c:pt>
                <c:pt idx="71">
                  <c:v>1049</c:v>
                </c:pt>
                <c:pt idx="72">
                  <c:v>1074</c:v>
                </c:pt>
                <c:pt idx="73">
                  <c:v>1102</c:v>
                </c:pt>
                <c:pt idx="74">
                  <c:v>1120</c:v>
                </c:pt>
                <c:pt idx="75">
                  <c:v>1141</c:v>
                </c:pt>
                <c:pt idx="76">
                  <c:v>1160</c:v>
                </c:pt>
                <c:pt idx="77">
                  <c:v>1174</c:v>
                </c:pt>
                <c:pt idx="78">
                  <c:v>1190</c:v>
                </c:pt>
                <c:pt idx="79">
                  <c:v>1206</c:v>
                </c:pt>
                <c:pt idx="80">
                  <c:v>1218</c:v>
                </c:pt>
                <c:pt idx="81">
                  <c:v>1240</c:v>
                </c:pt>
                <c:pt idx="82">
                  <c:v>1260</c:v>
                </c:pt>
                <c:pt idx="83">
                  <c:v>1276</c:v>
                </c:pt>
                <c:pt idx="84">
                  <c:v>1290</c:v>
                </c:pt>
                <c:pt idx="85">
                  <c:v>1308</c:v>
                </c:pt>
                <c:pt idx="86">
                  <c:v>1317</c:v>
                </c:pt>
                <c:pt idx="87">
                  <c:v>1329</c:v>
                </c:pt>
                <c:pt idx="88">
                  <c:v>1347</c:v>
                </c:pt>
                <c:pt idx="89">
                  <c:v>1365</c:v>
                </c:pt>
                <c:pt idx="90">
                  <c:v>1378</c:v>
                </c:pt>
                <c:pt idx="91">
                  <c:v>1386</c:v>
                </c:pt>
                <c:pt idx="92">
                  <c:v>1393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036.6055996761904</c:v>
                </c:pt>
                <c:pt idx="71">
                  <c:v>1051.9028119189525</c:v>
                </c:pt>
                <c:pt idx="72">
                  <c:v>1066.8731953321776</c:v>
                </c:pt>
                <c:pt idx="73">
                  <c:v>1081.5110370592781</c:v>
                </c:pt>
                <c:pt idx="74">
                  <c:v>1095.7787945743808</c:v>
                </c:pt>
                <c:pt idx="75">
                  <c:v>1109.6656280935877</c:v>
                </c:pt>
                <c:pt idx="76">
                  <c:v>1123.190413825743</c:v>
                </c:pt>
                <c:pt idx="77">
                  <c:v>1136.3470418663474</c:v>
                </c:pt>
                <c:pt idx="78">
                  <c:v>1149.0923832618096</c:v>
                </c:pt>
                <c:pt idx="79">
                  <c:v>1161.3740476448265</c:v>
                </c:pt>
                <c:pt idx="80">
                  <c:v>1173.1886791520196</c:v>
                </c:pt>
                <c:pt idx="81">
                  <c:v>1184.5545648845766</c:v>
                </c:pt>
                <c:pt idx="82">
                  <c:v>1195.5117554945214</c:v>
                </c:pt>
                <c:pt idx="83">
                  <c:v>1206.0725770247332</c:v>
                </c:pt>
                <c:pt idx="84">
                  <c:v>1216.2522562629169</c:v>
                </c:pt>
                <c:pt idx="85">
                  <c:v>1226.0567517141067</c:v>
                </c:pt>
                <c:pt idx="86">
                  <c:v>1235.4947014095076</c:v>
                </c:pt>
                <c:pt idx="87">
                  <c:v>1244.5742740378942</c:v>
                </c:pt>
                <c:pt idx="88">
                  <c:v>1253.3160402852009</c:v>
                </c:pt>
                <c:pt idx="89">
                  <c:v>1261.7318144131139</c:v>
                </c:pt>
                <c:pt idx="90">
                  <c:v>1269.8288140225329</c:v>
                </c:pt>
                <c:pt idx="91">
                  <c:v>1277.6160765924369</c:v>
                </c:pt>
                <c:pt idx="92">
                  <c:v>1285.1078764440317</c:v>
                </c:pt>
                <c:pt idx="93">
                  <c:v>1292.31667280216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91F-4172-8072-484BB1CAB290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037.085493723411</c:v>
                </c:pt>
                <c:pt idx="71">
                  <c:v>1053.1059140381217</c:v>
                </c:pt>
                <c:pt idx="72">
                  <c:v>1069.0193100937354</c:v>
                </c:pt>
                <c:pt idx="73">
                  <c:v>1084.845839789949</c:v>
                </c:pt>
                <c:pt idx="74">
                  <c:v>1100.5612658933055</c:v>
                </c:pt>
                <c:pt idx="75">
                  <c:v>1116.1374396626054</c:v>
                </c:pt>
                <c:pt idx="76">
                  <c:v>1131.5898531684177</c:v>
                </c:pt>
                <c:pt idx="77">
                  <c:v>1146.9082047990369</c:v>
                </c:pt>
                <c:pt idx="78">
                  <c:v>1162.0518784617661</c:v>
                </c:pt>
                <c:pt idx="79">
                  <c:v>1176.9588374295695</c:v>
                </c:pt>
                <c:pt idx="80">
                  <c:v>1191.612661263059</c:v>
                </c:pt>
                <c:pt idx="81">
                  <c:v>1206.0142960835876</c:v>
                </c:pt>
                <c:pt idx="82">
                  <c:v>1220.1831434603005</c:v>
                </c:pt>
                <c:pt idx="83">
                  <c:v>1234.1182777959928</c:v>
                </c:pt>
                <c:pt idx="84">
                  <c:v>1247.8258095512215</c:v>
                </c:pt>
                <c:pt idx="85">
                  <c:v>1261.3012200763108</c:v>
                </c:pt>
                <c:pt idx="86">
                  <c:v>1274.5444918079388</c:v>
                </c:pt>
                <c:pt idx="87">
                  <c:v>1287.5527524274739</c:v>
                </c:pt>
                <c:pt idx="88">
                  <c:v>1300.3369673347693</c:v>
                </c:pt>
                <c:pt idx="89">
                  <c:v>1312.8996042473761</c:v>
                </c:pt>
                <c:pt idx="90">
                  <c:v>1325.2391388377505</c:v>
                </c:pt>
                <c:pt idx="91">
                  <c:v>1337.355837960529</c:v>
                </c:pt>
                <c:pt idx="92">
                  <c:v>1349.2569336261186</c:v>
                </c:pt>
                <c:pt idx="93">
                  <c:v>1360.94521751747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91F-4172-8072-484BB1CAB290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041.3556980263886</c:v>
                </c:pt>
                <c:pt idx="71">
                  <c:v>1061.9864893126194</c:v>
                </c:pt>
                <c:pt idx="72">
                  <c:v>1082.874570782953</c:v>
                </c:pt>
                <c:pt idx="73">
                  <c:v>1104.0311027553539</c:v>
                </c:pt>
                <c:pt idx="74">
                  <c:v>1125.4719567439929</c:v>
                </c:pt>
                <c:pt idx="75">
                  <c:v>1147.1763189666769</c:v>
                </c:pt>
                <c:pt idx="76">
                  <c:v>1169.1653354442924</c:v>
                </c:pt>
                <c:pt idx="77">
                  <c:v>1191.430891658262</c:v>
                </c:pt>
                <c:pt idx="78">
                  <c:v>1213.9685168120564</c:v>
                </c:pt>
                <c:pt idx="79">
                  <c:v>1236.764954271328</c:v>
                </c:pt>
                <c:pt idx="80">
                  <c:v>1259.8200911361182</c:v>
                </c:pt>
                <c:pt idx="81">
                  <c:v>1283.1228566440789</c:v>
                </c:pt>
                <c:pt idx="82">
                  <c:v>1306.6636726958181</c:v>
                </c:pt>
                <c:pt idx="83">
                  <c:v>1330.45067634723</c:v>
                </c:pt>
                <c:pt idx="84">
                  <c:v>1354.4957064567825</c:v>
                </c:pt>
                <c:pt idx="85">
                  <c:v>1378.7991489102637</c:v>
                </c:pt>
                <c:pt idx="86">
                  <c:v>1403.3574371950199</c:v>
                </c:pt>
                <c:pt idx="87">
                  <c:v>1428.2199267819533</c:v>
                </c:pt>
                <c:pt idx="88">
                  <c:v>1453.5387873536929</c:v>
                </c:pt>
                <c:pt idx="89">
                  <c:v>1479.3231395369039</c:v>
                </c:pt>
                <c:pt idx="90">
                  <c:v>1505.5784804637178</c:v>
                </c:pt>
                <c:pt idx="91">
                  <c:v>1532.3085990041643</c:v>
                </c:pt>
                <c:pt idx="92">
                  <c:v>1559.5225651813653</c:v>
                </c:pt>
                <c:pt idx="93">
                  <c:v>1587.22300596285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91F-4172-8072-484BB1CAB290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1041.4956422993528</c:v>
                </c:pt>
                <c:pt idx="71">
                  <c:v>1062.3458547314181</c:v>
                </c:pt>
                <c:pt idx="72">
                  <c:v>1083.5358386734363</c:v>
                </c:pt>
                <c:pt idx="73">
                  <c:v>1105.0901411494556</c:v>
                </c:pt>
                <c:pt idx="74">
                  <c:v>1127.0358343649852</c:v>
                </c:pt>
                <c:pt idx="75">
                  <c:v>1149.3470138792284</c:v>
                </c:pt>
                <c:pt idx="76">
                  <c:v>1172.0474734952973</c:v>
                </c:pt>
                <c:pt idx="77">
                  <c:v>1195.1356274428272</c:v>
                </c:pt>
                <c:pt idx="78">
                  <c:v>1218.6221046443425</c:v>
                </c:pt>
                <c:pt idx="79">
                  <c:v>1242.4999464998225</c:v>
                </c:pt>
                <c:pt idx="80">
                  <c:v>1266.7718946092423</c:v>
                </c:pt>
                <c:pt idx="81">
                  <c:v>1291.4276425367104</c:v>
                </c:pt>
                <c:pt idx="82">
                  <c:v>1316.6733937225758</c:v>
                </c:pt>
                <c:pt idx="83">
                  <c:v>1342.6001489899941</c:v>
                </c:pt>
                <c:pt idx="84">
                  <c:v>1369.2451800940087</c:v>
                </c:pt>
                <c:pt idx="85">
                  <c:v>1396.6202935037452</c:v>
                </c:pt>
                <c:pt idx="86">
                  <c:v>1424.7348101535233</c:v>
                </c:pt>
                <c:pt idx="87">
                  <c:v>1453.5884584426278</c:v>
                </c:pt>
                <c:pt idx="88">
                  <c:v>1483.2063094782536</c:v>
                </c:pt>
                <c:pt idx="89">
                  <c:v>1513.611563847214</c:v>
                </c:pt>
                <c:pt idx="90">
                  <c:v>1544.8231369634568</c:v>
                </c:pt>
                <c:pt idx="91">
                  <c:v>1576.8573724772546</c:v>
                </c:pt>
                <c:pt idx="92">
                  <c:v>1609.7352728647254</c:v>
                </c:pt>
                <c:pt idx="93">
                  <c:v>1643.47037207570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7</c:v>
                </c:pt>
                <c:pt idx="2">
                  <c:v>13</c:v>
                </c:pt>
                <c:pt idx="3">
                  <c:v>20</c:v>
                </c:pt>
                <c:pt idx="4">
                  <c:v>24</c:v>
                </c:pt>
                <c:pt idx="5">
                  <c:v>30</c:v>
                </c:pt>
                <c:pt idx="6">
                  <c:v>34</c:v>
                </c:pt>
                <c:pt idx="7">
                  <c:v>39</c:v>
                </c:pt>
                <c:pt idx="8">
                  <c:v>43</c:v>
                </c:pt>
                <c:pt idx="9">
                  <c:v>47</c:v>
                </c:pt>
                <c:pt idx="10">
                  <c:v>54</c:v>
                </c:pt>
                <c:pt idx="11">
                  <c:v>62</c:v>
                </c:pt>
                <c:pt idx="12">
                  <c:v>67</c:v>
                </c:pt>
                <c:pt idx="13">
                  <c:v>72</c:v>
                </c:pt>
                <c:pt idx="14">
                  <c:v>83</c:v>
                </c:pt>
                <c:pt idx="15">
                  <c:v>89</c:v>
                </c:pt>
                <c:pt idx="16">
                  <c:v>94</c:v>
                </c:pt>
                <c:pt idx="17">
                  <c:v>102</c:v>
                </c:pt>
                <c:pt idx="18">
                  <c:v>107</c:v>
                </c:pt>
                <c:pt idx="19">
                  <c:v>114</c:v>
                </c:pt>
                <c:pt idx="20">
                  <c:v>123</c:v>
                </c:pt>
                <c:pt idx="21">
                  <c:v>131</c:v>
                </c:pt>
                <c:pt idx="22">
                  <c:v>134</c:v>
                </c:pt>
                <c:pt idx="23">
                  <c:v>136</c:v>
                </c:pt>
                <c:pt idx="24">
                  <c:v>139</c:v>
                </c:pt>
                <c:pt idx="25">
                  <c:v>145</c:v>
                </c:pt>
                <c:pt idx="26">
                  <c:v>149</c:v>
                </c:pt>
                <c:pt idx="27">
                  <c:v>156</c:v>
                </c:pt>
                <c:pt idx="28">
                  <c:v>163</c:v>
                </c:pt>
                <c:pt idx="29">
                  <c:v>171</c:v>
                </c:pt>
                <c:pt idx="30">
                  <c:v>175</c:v>
                </c:pt>
                <c:pt idx="31">
                  <c:v>179</c:v>
                </c:pt>
                <c:pt idx="32">
                  <c:v>187</c:v>
                </c:pt>
                <c:pt idx="33">
                  <c:v>200</c:v>
                </c:pt>
                <c:pt idx="34">
                  <c:v>206</c:v>
                </c:pt>
                <c:pt idx="35">
                  <c:v>215</c:v>
                </c:pt>
                <c:pt idx="36">
                  <c:v>223</c:v>
                </c:pt>
                <c:pt idx="37">
                  <c:v>226</c:v>
                </c:pt>
                <c:pt idx="38">
                  <c:v>234</c:v>
                </c:pt>
                <c:pt idx="39">
                  <c:v>241</c:v>
                </c:pt>
                <c:pt idx="40">
                  <c:v>248</c:v>
                </c:pt>
                <c:pt idx="41">
                  <c:v>257</c:v>
                </c:pt>
                <c:pt idx="42">
                  <c:v>262</c:v>
                </c:pt>
                <c:pt idx="43">
                  <c:v>267</c:v>
                </c:pt>
                <c:pt idx="44">
                  <c:v>274</c:v>
                </c:pt>
                <c:pt idx="45">
                  <c:v>280</c:v>
                </c:pt>
                <c:pt idx="46">
                  <c:v>291</c:v>
                </c:pt>
                <c:pt idx="47">
                  <c:v>302</c:v>
                </c:pt>
                <c:pt idx="48">
                  <c:v>311</c:v>
                </c:pt>
                <c:pt idx="49">
                  <c:v>318</c:v>
                </c:pt>
                <c:pt idx="50">
                  <c:v>326</c:v>
                </c:pt>
                <c:pt idx="51">
                  <c:v>332</c:v>
                </c:pt>
                <c:pt idx="52">
                  <c:v>344</c:v>
                </c:pt>
                <c:pt idx="53">
                  <c:v>355</c:v>
                </c:pt>
                <c:pt idx="54">
                  <c:v>365</c:v>
                </c:pt>
                <c:pt idx="55">
                  <c:v>373</c:v>
                </c:pt>
                <c:pt idx="56">
                  <c:v>384</c:v>
                </c:pt>
                <c:pt idx="57">
                  <c:v>395</c:v>
                </c:pt>
                <c:pt idx="58">
                  <c:v>404</c:v>
                </c:pt>
                <c:pt idx="59">
                  <c:v>419</c:v>
                </c:pt>
                <c:pt idx="60">
                  <c:v>427</c:v>
                </c:pt>
                <c:pt idx="61">
                  <c:v>440</c:v>
                </c:pt>
                <c:pt idx="62">
                  <c:v>455</c:v>
                </c:pt>
                <c:pt idx="63">
                  <c:v>470</c:v>
                </c:pt>
                <c:pt idx="64">
                  <c:v>482</c:v>
                </c:pt>
                <c:pt idx="65">
                  <c:v>499</c:v>
                </c:pt>
                <c:pt idx="66">
                  <c:v>514</c:v>
                </c:pt>
                <c:pt idx="67">
                  <c:v>530</c:v>
                </c:pt>
                <c:pt idx="68">
                  <c:v>541</c:v>
                </c:pt>
                <c:pt idx="69">
                  <c:v>560</c:v>
                </c:pt>
                <c:pt idx="70">
                  <c:v>574</c:v>
                </c:pt>
                <c:pt idx="71">
                  <c:v>586</c:v>
                </c:pt>
                <c:pt idx="72">
                  <c:v>600</c:v>
                </c:pt>
                <c:pt idx="73">
                  <c:v>613</c:v>
                </c:pt>
                <c:pt idx="74">
                  <c:v>632</c:v>
                </c:pt>
                <c:pt idx="75">
                  <c:v>648</c:v>
                </c:pt>
                <c:pt idx="76">
                  <c:v>659</c:v>
                </c:pt>
                <c:pt idx="77">
                  <c:v>670</c:v>
                </c:pt>
                <c:pt idx="78">
                  <c:v>681</c:v>
                </c:pt>
                <c:pt idx="79">
                  <c:v>692</c:v>
                </c:pt>
                <c:pt idx="80">
                  <c:v>701</c:v>
                </c:pt>
                <c:pt idx="81">
                  <c:v>714</c:v>
                </c:pt>
                <c:pt idx="82">
                  <c:v>725</c:v>
                </c:pt>
                <c:pt idx="83">
                  <c:v>735</c:v>
                </c:pt>
                <c:pt idx="84">
                  <c:v>746</c:v>
                </c:pt>
                <c:pt idx="85">
                  <c:v>758</c:v>
                </c:pt>
                <c:pt idx="86">
                  <c:v>764</c:v>
                </c:pt>
                <c:pt idx="87">
                  <c:v>778</c:v>
                </c:pt>
                <c:pt idx="88">
                  <c:v>786</c:v>
                </c:pt>
                <c:pt idx="89">
                  <c:v>796</c:v>
                </c:pt>
                <c:pt idx="90">
                  <c:v>803</c:v>
                </c:pt>
                <c:pt idx="91">
                  <c:v>810</c:v>
                </c:pt>
                <c:pt idx="92">
                  <c:v>826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570.30445409855065</c:v>
                </c:pt>
                <c:pt idx="71">
                  <c:v>580.40696932792798</c:v>
                </c:pt>
                <c:pt idx="72">
                  <c:v>590.29672857941375</c:v>
                </c:pt>
                <c:pt idx="73">
                  <c:v>599.96290615083922</c:v>
                </c:pt>
                <c:pt idx="74">
                  <c:v>609.37995233058291</c:v>
                </c:pt>
                <c:pt idx="75">
                  <c:v>618.54433201828829</c:v>
                </c:pt>
                <c:pt idx="76">
                  <c:v>627.47122707478377</c:v>
                </c:pt>
                <c:pt idx="77">
                  <c:v>636.15545546287956</c:v>
                </c:pt>
                <c:pt idx="78">
                  <c:v>644.56586667515467</c:v>
                </c:pt>
                <c:pt idx="79">
                  <c:v>652.67044987965551</c:v>
                </c:pt>
                <c:pt idx="80">
                  <c:v>660.4689034568662</c:v>
                </c:pt>
                <c:pt idx="81">
                  <c:v>667.97296300636049</c:v>
                </c:pt>
                <c:pt idx="82">
                  <c:v>675.2074855317926</c:v>
                </c:pt>
                <c:pt idx="83">
                  <c:v>682.1803703332854</c:v>
                </c:pt>
                <c:pt idx="84">
                  <c:v>688.90158394858076</c:v>
                </c:pt>
                <c:pt idx="85">
                  <c:v>695.37529428153266</c:v>
                </c:pt>
                <c:pt idx="86">
                  <c:v>701.60661612258752</c:v>
                </c:pt>
                <c:pt idx="87">
                  <c:v>707.60150300972828</c:v>
                </c:pt>
                <c:pt idx="88">
                  <c:v>713.37327280481031</c:v>
                </c:pt>
                <c:pt idx="89">
                  <c:v>718.93000478275189</c:v>
                </c:pt>
                <c:pt idx="90">
                  <c:v>724.27646613703598</c:v>
                </c:pt>
                <c:pt idx="91">
                  <c:v>729.41867450952168</c:v>
                </c:pt>
                <c:pt idx="92">
                  <c:v>734.365691675481</c:v>
                </c:pt>
                <c:pt idx="93">
                  <c:v>739.125700196575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70F-49E6-B8BC-76C572CC1105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570.62241280170133</c:v>
                </c:pt>
                <c:pt idx="71">
                  <c:v>581.20386402528243</c:v>
                </c:pt>
                <c:pt idx="72">
                  <c:v>591.71843521080871</c:v>
                </c:pt>
                <c:pt idx="73">
                  <c:v>602.17189410670574</c:v>
                </c:pt>
                <c:pt idx="74">
                  <c:v>612.54781150137933</c:v>
                </c:pt>
                <c:pt idx="75">
                  <c:v>622.83085800783033</c:v>
                </c:pt>
                <c:pt idx="76">
                  <c:v>633.03347870871266</c:v>
                </c:pt>
                <c:pt idx="77">
                  <c:v>643.14706079532402</c:v>
                </c:pt>
                <c:pt idx="78">
                  <c:v>653.142444154553</c:v>
                </c:pt>
                <c:pt idx="79">
                  <c:v>662.98137853311061</c:v>
                </c:pt>
                <c:pt idx="80">
                  <c:v>672.65501364135366</c:v>
                </c:pt>
                <c:pt idx="81">
                  <c:v>682.16371890670678</c:v>
                </c:pt>
                <c:pt idx="82">
                  <c:v>691.51862491434281</c:v>
                </c:pt>
                <c:pt idx="83">
                  <c:v>700.71937530263403</c:v>
                </c:pt>
                <c:pt idx="84">
                  <c:v>709.76992230058204</c:v>
                </c:pt>
                <c:pt idx="85">
                  <c:v>718.66742968199571</c:v>
                </c:pt>
                <c:pt idx="86">
                  <c:v>727.41127171472533</c:v>
                </c:pt>
                <c:pt idx="87">
                  <c:v>736.00014577806678</c:v>
                </c:pt>
                <c:pt idx="88">
                  <c:v>744.44100103619803</c:v>
                </c:pt>
                <c:pt idx="89">
                  <c:v>752.73579854026059</c:v>
                </c:pt>
                <c:pt idx="90">
                  <c:v>760.88347098842212</c:v>
                </c:pt>
                <c:pt idx="91">
                  <c:v>768.88432013230613</c:v>
                </c:pt>
                <c:pt idx="92">
                  <c:v>776.74269488979644</c:v>
                </c:pt>
                <c:pt idx="93">
                  <c:v>784.460479962191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70F-49E6-B8BC-76C572CC1105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573.10104235533254</c:v>
                </c:pt>
                <c:pt idx="71">
                  <c:v>586.40512973578666</c:v>
                </c:pt>
                <c:pt idx="72">
                  <c:v>599.89912177593601</c:v>
                </c:pt>
                <c:pt idx="73">
                  <c:v>613.59125585332526</c:v>
                </c:pt>
                <c:pt idx="74">
                  <c:v>627.49324665698555</c:v>
                </c:pt>
                <c:pt idx="75">
                  <c:v>641.58973163339328</c:v>
                </c:pt>
                <c:pt idx="76">
                  <c:v>655.89631855986954</c:v>
                </c:pt>
                <c:pt idx="77">
                  <c:v>670.4070181488928</c:v>
                </c:pt>
                <c:pt idx="78">
                  <c:v>685.11853052683443</c:v>
                </c:pt>
                <c:pt idx="79">
                  <c:v>700.02107103500919</c:v>
                </c:pt>
                <c:pt idx="80">
                  <c:v>715.11455634249535</c:v>
                </c:pt>
                <c:pt idx="81">
                  <c:v>730.39081517232171</c:v>
                </c:pt>
                <c:pt idx="82">
                  <c:v>745.84277797493689</c:v>
                </c:pt>
                <c:pt idx="83">
                  <c:v>761.47645067254859</c:v>
                </c:pt>
                <c:pt idx="84">
                  <c:v>777.30057147021648</c:v>
                </c:pt>
                <c:pt idx="85">
                  <c:v>793.3154251884032</c:v>
                </c:pt>
                <c:pt idx="86">
                  <c:v>809.51837940110227</c:v>
                </c:pt>
                <c:pt idx="87">
                  <c:v>825.93682961389391</c:v>
                </c:pt>
                <c:pt idx="88">
                  <c:v>842.65656467444467</c:v>
                </c:pt>
                <c:pt idx="89">
                  <c:v>859.68403733007608</c:v>
                </c:pt>
                <c:pt idx="90">
                  <c:v>877.02267707069723</c:v>
                </c:pt>
                <c:pt idx="91">
                  <c:v>894.67525421432219</c:v>
                </c:pt>
                <c:pt idx="92">
                  <c:v>912.64720705900413</c:v>
                </c:pt>
                <c:pt idx="93">
                  <c:v>930.940501714488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70F-49E6-B8BC-76C572CC1105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573.20433455680609</c:v>
                </c:pt>
                <c:pt idx="71">
                  <c:v>586.67037564013822</c:v>
                </c:pt>
                <c:pt idx="72">
                  <c:v>600.387200457007</c:v>
                </c:pt>
                <c:pt idx="73">
                  <c:v>614.37292704897163</c:v>
                </c:pt>
                <c:pt idx="74">
                  <c:v>628.64753728200367</c:v>
                </c:pt>
                <c:pt idx="75">
                  <c:v>643.19191121170502</c:v>
                </c:pt>
                <c:pt idx="76">
                  <c:v>658.02361093084926</c:v>
                </c:pt>
                <c:pt idx="77">
                  <c:v>673.14146598988134</c:v>
                </c:pt>
                <c:pt idx="78">
                  <c:v>688.5533215459028</c:v>
                </c:pt>
                <c:pt idx="79">
                  <c:v>704.25404148937434</c:v>
                </c:pt>
                <c:pt idx="80">
                  <c:v>720.24564938218236</c:v>
                </c:pt>
                <c:pt idx="81">
                  <c:v>736.52053809307347</c:v>
                </c:pt>
                <c:pt idx="82">
                  <c:v>753.1920820278981</c:v>
                </c:pt>
                <c:pt idx="83">
                  <c:v>770.31383601515961</c:v>
                </c:pt>
                <c:pt idx="84">
                  <c:v>787.9103190065689</c:v>
                </c:pt>
                <c:pt idx="85">
                  <c:v>805.98920896203845</c:v>
                </c:pt>
                <c:pt idx="86">
                  <c:v>824.55596721075108</c:v>
                </c:pt>
                <c:pt idx="87">
                  <c:v>843.61111463834186</c:v>
                </c:pt>
                <c:pt idx="88">
                  <c:v>863.17086520339649</c:v>
                </c:pt>
                <c:pt idx="89">
                  <c:v>883.25099298799694</c:v>
                </c:pt>
                <c:pt idx="90">
                  <c:v>903.86374865902167</c:v>
                </c:pt>
                <c:pt idx="91">
                  <c:v>925.02022896622475</c:v>
                </c:pt>
                <c:pt idx="92">
                  <c:v>946.73372467644811</c:v>
                </c:pt>
                <c:pt idx="93">
                  <c:v>969.013454655403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30</c:v>
                </c:pt>
                <c:pt idx="1">
                  <c:v>133</c:v>
                </c:pt>
                <c:pt idx="2">
                  <c:v>153</c:v>
                </c:pt>
                <c:pt idx="3">
                  <c:v>176</c:v>
                </c:pt>
                <c:pt idx="4">
                  <c:v>168</c:v>
                </c:pt>
                <c:pt idx="5">
                  <c:v>185</c:v>
                </c:pt>
                <c:pt idx="6">
                  <c:v>189</c:v>
                </c:pt>
                <c:pt idx="7">
                  <c:v>187</c:v>
                </c:pt>
                <c:pt idx="8">
                  <c:v>190</c:v>
                </c:pt>
                <c:pt idx="9">
                  <c:v>198</c:v>
                </c:pt>
                <c:pt idx="10">
                  <c:v>170</c:v>
                </c:pt>
                <c:pt idx="11">
                  <c:v>173</c:v>
                </c:pt>
                <c:pt idx="12">
                  <c:v>178</c:v>
                </c:pt>
                <c:pt idx="13">
                  <c:v>172</c:v>
                </c:pt>
                <c:pt idx="14">
                  <c:v>172</c:v>
                </c:pt>
                <c:pt idx="15">
                  <c:v>164</c:v>
                </c:pt>
                <c:pt idx="16">
                  <c:v>141</c:v>
                </c:pt>
                <c:pt idx="17">
                  <c:v>160</c:v>
                </c:pt>
                <c:pt idx="18">
                  <c:v>155</c:v>
                </c:pt>
                <c:pt idx="19">
                  <c:v>151</c:v>
                </c:pt>
                <c:pt idx="20">
                  <c:v>153</c:v>
                </c:pt>
                <c:pt idx="21">
                  <c:v>151</c:v>
                </c:pt>
                <c:pt idx="22">
                  <c:v>155</c:v>
                </c:pt>
                <c:pt idx="23">
                  <c:v>128</c:v>
                </c:pt>
                <c:pt idx="24">
                  <c:v>143</c:v>
                </c:pt>
                <c:pt idx="25">
                  <c:v>122</c:v>
                </c:pt>
                <c:pt idx="26">
                  <c:v>128</c:v>
                </c:pt>
                <c:pt idx="27">
                  <c:v>129</c:v>
                </c:pt>
                <c:pt idx="28">
                  <c:v>137</c:v>
                </c:pt>
                <c:pt idx="29">
                  <c:v>148</c:v>
                </c:pt>
                <c:pt idx="30">
                  <c:v>153</c:v>
                </c:pt>
                <c:pt idx="31">
                  <c:v>159</c:v>
                </c:pt>
                <c:pt idx="32">
                  <c:v>164</c:v>
                </c:pt>
                <c:pt idx="33">
                  <c:v>167</c:v>
                </c:pt>
                <c:pt idx="34">
                  <c:v>180</c:v>
                </c:pt>
                <c:pt idx="35">
                  <c:v>175</c:v>
                </c:pt>
                <c:pt idx="36">
                  <c:v>178</c:v>
                </c:pt>
                <c:pt idx="37">
                  <c:v>192</c:v>
                </c:pt>
                <c:pt idx="38">
                  <c:v>195</c:v>
                </c:pt>
                <c:pt idx="39">
                  <c:v>179</c:v>
                </c:pt>
                <c:pt idx="40">
                  <c:v>185</c:v>
                </c:pt>
                <c:pt idx="41">
                  <c:v>179</c:v>
                </c:pt>
                <c:pt idx="42">
                  <c:v>192</c:v>
                </c:pt>
                <c:pt idx="43">
                  <c:v>198</c:v>
                </c:pt>
                <c:pt idx="44">
                  <c:v>205</c:v>
                </c:pt>
                <c:pt idx="45">
                  <c:v>196</c:v>
                </c:pt>
                <c:pt idx="46">
                  <c:v>206</c:v>
                </c:pt>
                <c:pt idx="47">
                  <c:v>193</c:v>
                </c:pt>
                <c:pt idx="48">
                  <c:v>204</c:v>
                </c:pt>
                <c:pt idx="49">
                  <c:v>211</c:v>
                </c:pt>
                <c:pt idx="50">
                  <c:v>217</c:v>
                </c:pt>
                <c:pt idx="51">
                  <c:v>219</c:v>
                </c:pt>
                <c:pt idx="52">
                  <c:v>241</c:v>
                </c:pt>
                <c:pt idx="53">
                  <c:v>249</c:v>
                </c:pt>
                <c:pt idx="54">
                  <c:v>243</c:v>
                </c:pt>
                <c:pt idx="55">
                  <c:v>255</c:v>
                </c:pt>
                <c:pt idx="56">
                  <c:v>238</c:v>
                </c:pt>
                <c:pt idx="57">
                  <c:v>252</c:v>
                </c:pt>
                <c:pt idx="58">
                  <c:v>277</c:v>
                </c:pt>
                <c:pt idx="59">
                  <c:v>273</c:v>
                </c:pt>
                <c:pt idx="60">
                  <c:v>287</c:v>
                </c:pt>
                <c:pt idx="61">
                  <c:v>289</c:v>
                </c:pt>
                <c:pt idx="62">
                  <c:v>282</c:v>
                </c:pt>
                <c:pt idx="63">
                  <c:v>285</c:v>
                </c:pt>
                <c:pt idx="64">
                  <c:v>278</c:v>
                </c:pt>
                <c:pt idx="65">
                  <c:v>275</c:v>
                </c:pt>
                <c:pt idx="66">
                  <c:v>285</c:v>
                </c:pt>
                <c:pt idx="67">
                  <c:v>267</c:v>
                </c:pt>
                <c:pt idx="68">
                  <c:v>280</c:v>
                </c:pt>
                <c:pt idx="69">
                  <c:v>283</c:v>
                </c:pt>
                <c:pt idx="70">
                  <c:v>304</c:v>
                </c:pt>
                <c:pt idx="71">
                  <c:v>294</c:v>
                </c:pt>
                <c:pt idx="72">
                  <c:v>305</c:v>
                </c:pt>
                <c:pt idx="73">
                  <c:v>299</c:v>
                </c:pt>
                <c:pt idx="74">
                  <c:v>318</c:v>
                </c:pt>
                <c:pt idx="75">
                  <c:v>313</c:v>
                </c:pt>
                <c:pt idx="76">
                  <c:v>308</c:v>
                </c:pt>
                <c:pt idx="77">
                  <c:v>305</c:v>
                </c:pt>
                <c:pt idx="78">
                  <c:v>304</c:v>
                </c:pt>
                <c:pt idx="79">
                  <c:v>303</c:v>
                </c:pt>
                <c:pt idx="80">
                  <c:v>310</c:v>
                </c:pt>
                <c:pt idx="81">
                  <c:v>317</c:v>
                </c:pt>
                <c:pt idx="82">
                  <c:v>299</c:v>
                </c:pt>
                <c:pt idx="83">
                  <c:v>309</c:v>
                </c:pt>
                <c:pt idx="84">
                  <c:v>302</c:v>
                </c:pt>
                <c:pt idx="85">
                  <c:v>281</c:v>
                </c:pt>
                <c:pt idx="86">
                  <c:v>296</c:v>
                </c:pt>
                <c:pt idx="87">
                  <c:v>271</c:v>
                </c:pt>
                <c:pt idx="88">
                  <c:v>265</c:v>
                </c:pt>
                <c:pt idx="89">
                  <c:v>250</c:v>
                </c:pt>
                <c:pt idx="90">
                  <c:v>257</c:v>
                </c:pt>
                <c:pt idx="91">
                  <c:v>251</c:v>
                </c:pt>
                <c:pt idx="92">
                  <c:v>243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297.13994399675585</c:v>
                </c:pt>
                <c:pt idx="71">
                  <c:v>290.96672921085474</c:v>
                </c:pt>
                <c:pt idx="72">
                  <c:v>284.64853494338138</c:v>
                </c:pt>
                <c:pt idx="73">
                  <c:v>278.21094660308273</c:v>
                </c:pt>
                <c:pt idx="74">
                  <c:v>271.67960742574542</c:v>
                </c:pt>
                <c:pt idx="75">
                  <c:v>265.00641990850386</c:v>
                </c:pt>
                <c:pt idx="76">
                  <c:v>258.33746200604355</c:v>
                </c:pt>
                <c:pt idx="77">
                  <c:v>251.69219973870656</c:v>
                </c:pt>
                <c:pt idx="78">
                  <c:v>244.88943919740314</c:v>
                </c:pt>
                <c:pt idx="79">
                  <c:v>237.99749796069639</c:v>
                </c:pt>
                <c:pt idx="80">
                  <c:v>230.94100836588626</c:v>
                </c:pt>
                <c:pt idx="81">
                  <c:v>223.75056337067616</c:v>
                </c:pt>
                <c:pt idx="82">
                  <c:v>216.62487937027623</c:v>
                </c:pt>
                <c:pt idx="83">
                  <c:v>209.53387001973499</c:v>
                </c:pt>
                <c:pt idx="84">
                  <c:v>202.58761144616113</c:v>
                </c:pt>
                <c:pt idx="85">
                  <c:v>195.74828255591166</c:v>
                </c:pt>
                <c:pt idx="86">
                  <c:v>189.00517234402122</c:v>
                </c:pt>
                <c:pt idx="87">
                  <c:v>182.36082944199251</c:v>
                </c:pt>
                <c:pt idx="88">
                  <c:v>175.83239502209005</c:v>
                </c:pt>
                <c:pt idx="89">
                  <c:v>169.46739814975678</c:v>
                </c:pt>
                <c:pt idx="90">
                  <c:v>163.2919117440976</c:v>
                </c:pt>
                <c:pt idx="91">
                  <c:v>157.32650852105559</c:v>
                </c:pt>
                <c:pt idx="92">
                  <c:v>151.53766905354212</c:v>
                </c:pt>
                <c:pt idx="93">
                  <c:v>145.895100397370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18-4C15-88DE-1E210F967A2B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297.8985349146912</c:v>
                </c:pt>
                <c:pt idx="71">
                  <c:v>292.81040803090013</c:v>
                </c:pt>
                <c:pt idx="72">
                  <c:v>287.83744710944671</c:v>
                </c:pt>
                <c:pt idx="73">
                  <c:v>283.02067696886706</c:v>
                </c:pt>
                <c:pt idx="74">
                  <c:v>278.38486594516723</c:v>
                </c:pt>
                <c:pt idx="75">
                  <c:v>273.83122067725151</c:v>
                </c:pt>
                <c:pt idx="76">
                  <c:v>269.47486187763445</c:v>
                </c:pt>
                <c:pt idx="77">
                  <c:v>265.30654963120594</c:v>
                </c:pt>
                <c:pt idx="78">
                  <c:v>261.13957264174843</c:v>
                </c:pt>
                <c:pt idx="79">
                  <c:v>257.00803625841115</c:v>
                </c:pt>
                <c:pt idx="80">
                  <c:v>252.80366973836146</c:v>
                </c:pt>
                <c:pt idx="81">
                  <c:v>248.51986542955427</c:v>
                </c:pt>
                <c:pt idx="82">
                  <c:v>244.31396624978453</c:v>
                </c:pt>
                <c:pt idx="83">
                  <c:v>240.13194438388109</c:v>
                </c:pt>
                <c:pt idx="84">
                  <c:v>236.06703776144306</c:v>
                </c:pt>
                <c:pt idx="85">
                  <c:v>232.06158814649069</c:v>
                </c:pt>
                <c:pt idx="86">
                  <c:v>228.09357247610532</c:v>
                </c:pt>
                <c:pt idx="87">
                  <c:v>224.15041138527192</c:v>
                </c:pt>
                <c:pt idx="88">
                  <c:v>220.23847359725545</c:v>
                </c:pt>
                <c:pt idx="89">
                  <c:v>216.39524574672834</c:v>
                </c:pt>
                <c:pt idx="90">
                  <c:v>212.63762562840367</c:v>
                </c:pt>
                <c:pt idx="91">
                  <c:v>208.97860902476441</c:v>
                </c:pt>
                <c:pt idx="92">
                  <c:v>205.38224340827639</c:v>
                </c:pt>
                <c:pt idx="93">
                  <c:v>201.813461783290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18-4C15-88DE-1E210F967A2B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303.853471472862</c:v>
                </c:pt>
                <c:pt idx="71">
                  <c:v>304.91501678950056</c:v>
                </c:pt>
                <c:pt idx="72">
                  <c:v>306.19649773151912</c:v>
                </c:pt>
                <c:pt idx="73">
                  <c:v>307.75335545102189</c:v>
                </c:pt>
                <c:pt idx="74">
                  <c:v>309.64248913793102</c:v>
                </c:pt>
                <c:pt idx="75">
                  <c:v>311.76874252746967</c:v>
                </c:pt>
                <c:pt idx="76">
                  <c:v>314.1709293425763</c:v>
                </c:pt>
                <c:pt idx="77">
                  <c:v>316.83530287711233</c:v>
                </c:pt>
                <c:pt idx="78">
                  <c:v>319.69838388690977</c:v>
                </c:pt>
                <c:pt idx="79">
                  <c:v>322.78301494206482</c:v>
                </c:pt>
                <c:pt idx="80">
                  <c:v>325.97732274785443</c:v>
                </c:pt>
                <c:pt idx="81">
                  <c:v>329.24079569512401</c:v>
                </c:pt>
                <c:pt idx="82">
                  <c:v>332.65646450930683</c:v>
                </c:pt>
                <c:pt idx="83">
                  <c:v>336.19101305493234</c:v>
                </c:pt>
                <c:pt idx="84">
                  <c:v>339.92377222451421</c:v>
                </c:pt>
                <c:pt idx="85">
                  <c:v>343.75999992356333</c:v>
                </c:pt>
                <c:pt idx="86">
                  <c:v>347.67106439573024</c:v>
                </c:pt>
                <c:pt idx="87">
                  <c:v>351.69357375485419</c:v>
                </c:pt>
                <c:pt idx="88">
                  <c:v>356.05333840655601</c:v>
                </c:pt>
                <c:pt idx="89">
                  <c:v>360.73962089096972</c:v>
                </c:pt>
                <c:pt idx="90">
                  <c:v>365.75755003699652</c:v>
                </c:pt>
                <c:pt idx="91">
                  <c:v>371.086764116739</c:v>
                </c:pt>
                <c:pt idx="92">
                  <c:v>376.6965837820876</c:v>
                </c:pt>
                <c:pt idx="93">
                  <c:v>382.542411381211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F18-4C15-88DE-1E210F967A2B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304.09866007551727</c:v>
                </c:pt>
                <c:pt idx="71">
                  <c:v>305.52400987570712</c:v>
                </c:pt>
                <c:pt idx="72">
                  <c:v>307.28302241067991</c:v>
                </c:pt>
                <c:pt idx="73">
                  <c:v>309.44323550158714</c:v>
                </c:pt>
                <c:pt idx="74">
                  <c:v>312.07072042159075</c:v>
                </c:pt>
                <c:pt idx="75">
                  <c:v>315.04950009803497</c:v>
                </c:pt>
                <c:pt idx="76">
                  <c:v>318.41181607228623</c:v>
                </c:pt>
                <c:pt idx="77">
                  <c:v>322.14426487793355</c:v>
                </c:pt>
                <c:pt idx="78">
                  <c:v>326.20067742212211</c:v>
                </c:pt>
                <c:pt idx="79">
                  <c:v>330.60200340377548</c:v>
                </c:pt>
                <c:pt idx="80">
                  <c:v>335.23011279105287</c:v>
                </c:pt>
                <c:pt idx="81">
                  <c:v>340.03429005190748</c:v>
                </c:pt>
                <c:pt idx="82">
                  <c:v>345.37656929702854</c:v>
                </c:pt>
                <c:pt idx="83">
                  <c:v>351.3099336089499</c:v>
                </c:pt>
                <c:pt idx="84">
                  <c:v>357.91268964416338</c:v>
                </c:pt>
                <c:pt idx="85">
                  <c:v>365.06817949560281</c:v>
                </c:pt>
                <c:pt idx="86">
                  <c:v>372.72937363235371</c:v>
                </c:pt>
                <c:pt idx="87">
                  <c:v>380.83219037766719</c:v>
                </c:pt>
                <c:pt idx="88">
                  <c:v>389.401162129851</c:v>
                </c:pt>
                <c:pt idx="89">
                  <c:v>398.42834231658196</c:v>
                </c:pt>
                <c:pt idx="90">
                  <c:v>407.92654230943668</c:v>
                </c:pt>
                <c:pt idx="91">
                  <c:v>417.87922086136984</c:v>
                </c:pt>
                <c:pt idx="92">
                  <c:v>428.25734840081657</c:v>
                </c:pt>
                <c:pt idx="93">
                  <c:v>439.017438158199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18-4C15-88DE-1E210F967A2B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34</c:v>
                </c:pt>
                <c:pt idx="1">
                  <c:v>134</c:v>
                </c:pt>
                <c:pt idx="2">
                  <c:v>134</c:v>
                </c:pt>
                <c:pt idx="3">
                  <c:v>134</c:v>
                </c:pt>
                <c:pt idx="4">
                  <c:v>134</c:v>
                </c:pt>
                <c:pt idx="5">
                  <c:v>134</c:v>
                </c:pt>
                <c:pt idx="6">
                  <c:v>134</c:v>
                </c:pt>
                <c:pt idx="7">
                  <c:v>134</c:v>
                </c:pt>
                <c:pt idx="8">
                  <c:v>134</c:v>
                </c:pt>
                <c:pt idx="9">
                  <c:v>134</c:v>
                </c:pt>
                <c:pt idx="10">
                  <c:v>134</c:v>
                </c:pt>
                <c:pt idx="11">
                  <c:v>134</c:v>
                </c:pt>
                <c:pt idx="12">
                  <c:v>134</c:v>
                </c:pt>
                <c:pt idx="13">
                  <c:v>134</c:v>
                </c:pt>
                <c:pt idx="14">
                  <c:v>134</c:v>
                </c:pt>
                <c:pt idx="15">
                  <c:v>134</c:v>
                </c:pt>
                <c:pt idx="16">
                  <c:v>134</c:v>
                </c:pt>
                <c:pt idx="17">
                  <c:v>134</c:v>
                </c:pt>
                <c:pt idx="18">
                  <c:v>134</c:v>
                </c:pt>
                <c:pt idx="19">
                  <c:v>134</c:v>
                </c:pt>
                <c:pt idx="20">
                  <c:v>134</c:v>
                </c:pt>
                <c:pt idx="21">
                  <c:v>134</c:v>
                </c:pt>
                <c:pt idx="22">
                  <c:v>134</c:v>
                </c:pt>
                <c:pt idx="23">
                  <c:v>134</c:v>
                </c:pt>
                <c:pt idx="24">
                  <c:v>134</c:v>
                </c:pt>
                <c:pt idx="25">
                  <c:v>134</c:v>
                </c:pt>
                <c:pt idx="26">
                  <c:v>134</c:v>
                </c:pt>
                <c:pt idx="27">
                  <c:v>134</c:v>
                </c:pt>
                <c:pt idx="28">
                  <c:v>134</c:v>
                </c:pt>
                <c:pt idx="29">
                  <c:v>134</c:v>
                </c:pt>
                <c:pt idx="30">
                  <c:v>134</c:v>
                </c:pt>
                <c:pt idx="31">
                  <c:v>134</c:v>
                </c:pt>
                <c:pt idx="32">
                  <c:v>134</c:v>
                </c:pt>
                <c:pt idx="33">
                  <c:v>134</c:v>
                </c:pt>
                <c:pt idx="34">
                  <c:v>134</c:v>
                </c:pt>
                <c:pt idx="35">
                  <c:v>134</c:v>
                </c:pt>
                <c:pt idx="36">
                  <c:v>134</c:v>
                </c:pt>
                <c:pt idx="37">
                  <c:v>134</c:v>
                </c:pt>
                <c:pt idx="38">
                  <c:v>134</c:v>
                </c:pt>
                <c:pt idx="39">
                  <c:v>134</c:v>
                </c:pt>
                <c:pt idx="40">
                  <c:v>134</c:v>
                </c:pt>
                <c:pt idx="41">
                  <c:v>134</c:v>
                </c:pt>
                <c:pt idx="42">
                  <c:v>134</c:v>
                </c:pt>
                <c:pt idx="43">
                  <c:v>134</c:v>
                </c:pt>
                <c:pt idx="44">
                  <c:v>134</c:v>
                </c:pt>
                <c:pt idx="45">
                  <c:v>134</c:v>
                </c:pt>
                <c:pt idx="46">
                  <c:v>134</c:v>
                </c:pt>
                <c:pt idx="47">
                  <c:v>134</c:v>
                </c:pt>
                <c:pt idx="48">
                  <c:v>134</c:v>
                </c:pt>
                <c:pt idx="49">
                  <c:v>134</c:v>
                </c:pt>
                <c:pt idx="50">
                  <c:v>134</c:v>
                </c:pt>
                <c:pt idx="51">
                  <c:v>134</c:v>
                </c:pt>
                <c:pt idx="52">
                  <c:v>134</c:v>
                </c:pt>
                <c:pt idx="53">
                  <c:v>134</c:v>
                </c:pt>
                <c:pt idx="54">
                  <c:v>134</c:v>
                </c:pt>
                <c:pt idx="55">
                  <c:v>134</c:v>
                </c:pt>
                <c:pt idx="56">
                  <c:v>134</c:v>
                </c:pt>
                <c:pt idx="57">
                  <c:v>134</c:v>
                </c:pt>
                <c:pt idx="58">
                  <c:v>134</c:v>
                </c:pt>
                <c:pt idx="59">
                  <c:v>134</c:v>
                </c:pt>
                <c:pt idx="60">
                  <c:v>134</c:v>
                </c:pt>
                <c:pt idx="61">
                  <c:v>134</c:v>
                </c:pt>
                <c:pt idx="62">
                  <c:v>134</c:v>
                </c:pt>
                <c:pt idx="63">
                  <c:v>134</c:v>
                </c:pt>
                <c:pt idx="64">
                  <c:v>134</c:v>
                </c:pt>
                <c:pt idx="65">
                  <c:v>134</c:v>
                </c:pt>
                <c:pt idx="66">
                  <c:v>134</c:v>
                </c:pt>
                <c:pt idx="67">
                  <c:v>134</c:v>
                </c:pt>
                <c:pt idx="68">
                  <c:v>134</c:v>
                </c:pt>
                <c:pt idx="69">
                  <c:v>134</c:v>
                </c:pt>
                <c:pt idx="70">
                  <c:v>134</c:v>
                </c:pt>
                <c:pt idx="71">
                  <c:v>134</c:v>
                </c:pt>
                <c:pt idx="72">
                  <c:v>134</c:v>
                </c:pt>
                <c:pt idx="73">
                  <c:v>134</c:v>
                </c:pt>
                <c:pt idx="74">
                  <c:v>134</c:v>
                </c:pt>
                <c:pt idx="75">
                  <c:v>134</c:v>
                </c:pt>
                <c:pt idx="76">
                  <c:v>134</c:v>
                </c:pt>
                <c:pt idx="77">
                  <c:v>134</c:v>
                </c:pt>
                <c:pt idx="78">
                  <c:v>134</c:v>
                </c:pt>
                <c:pt idx="79">
                  <c:v>134</c:v>
                </c:pt>
                <c:pt idx="80">
                  <c:v>134</c:v>
                </c:pt>
                <c:pt idx="81">
                  <c:v>134</c:v>
                </c:pt>
                <c:pt idx="82">
                  <c:v>134</c:v>
                </c:pt>
                <c:pt idx="83">
                  <c:v>134</c:v>
                </c:pt>
                <c:pt idx="84">
                  <c:v>134</c:v>
                </c:pt>
                <c:pt idx="85">
                  <c:v>134</c:v>
                </c:pt>
                <c:pt idx="86">
                  <c:v>134</c:v>
                </c:pt>
                <c:pt idx="87">
                  <c:v>134</c:v>
                </c:pt>
                <c:pt idx="88">
                  <c:v>134</c:v>
                </c:pt>
                <c:pt idx="89">
                  <c:v>134</c:v>
                </c:pt>
                <c:pt idx="90">
                  <c:v>134</c:v>
                </c:pt>
                <c:pt idx="91">
                  <c:v>134</c:v>
                </c:pt>
                <c:pt idx="92">
                  <c:v>134</c:v>
                </c:pt>
                <c:pt idx="93">
                  <c:v>1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</c:v>
                </c:pt>
                <c:pt idx="1">
                  <c:v>9</c:v>
                </c:pt>
                <c:pt idx="2">
                  <c:v>15</c:v>
                </c:pt>
                <c:pt idx="3">
                  <c:v>19</c:v>
                </c:pt>
                <c:pt idx="4">
                  <c:v>29</c:v>
                </c:pt>
                <c:pt idx="5">
                  <c:v>34</c:v>
                </c:pt>
                <c:pt idx="6">
                  <c:v>47</c:v>
                </c:pt>
                <c:pt idx="7">
                  <c:v>58</c:v>
                </c:pt>
                <c:pt idx="8">
                  <c:v>68</c:v>
                </c:pt>
                <c:pt idx="9">
                  <c:v>75</c:v>
                </c:pt>
                <c:pt idx="10">
                  <c:v>80</c:v>
                </c:pt>
                <c:pt idx="11">
                  <c:v>89</c:v>
                </c:pt>
                <c:pt idx="12">
                  <c:v>95</c:v>
                </c:pt>
                <c:pt idx="13">
                  <c:v>102</c:v>
                </c:pt>
                <c:pt idx="14">
                  <c:v>113</c:v>
                </c:pt>
                <c:pt idx="15">
                  <c:v>116</c:v>
                </c:pt>
                <c:pt idx="16">
                  <c:v>121</c:v>
                </c:pt>
                <c:pt idx="17">
                  <c:v>128</c:v>
                </c:pt>
                <c:pt idx="18">
                  <c:v>133</c:v>
                </c:pt>
                <c:pt idx="19">
                  <c:v>144</c:v>
                </c:pt>
                <c:pt idx="20">
                  <c:v>150</c:v>
                </c:pt>
                <c:pt idx="21">
                  <c:v>158</c:v>
                </c:pt>
                <c:pt idx="22">
                  <c:v>166</c:v>
                </c:pt>
                <c:pt idx="23">
                  <c:v>169</c:v>
                </c:pt>
                <c:pt idx="24">
                  <c:v>173</c:v>
                </c:pt>
                <c:pt idx="25">
                  <c:v>186</c:v>
                </c:pt>
                <c:pt idx="26">
                  <c:v>192</c:v>
                </c:pt>
                <c:pt idx="27">
                  <c:v>196</c:v>
                </c:pt>
                <c:pt idx="28">
                  <c:v>205</c:v>
                </c:pt>
                <c:pt idx="29">
                  <c:v>214</c:v>
                </c:pt>
                <c:pt idx="30">
                  <c:v>225</c:v>
                </c:pt>
                <c:pt idx="31">
                  <c:v>228</c:v>
                </c:pt>
                <c:pt idx="32">
                  <c:v>238</c:v>
                </c:pt>
                <c:pt idx="33">
                  <c:v>247</c:v>
                </c:pt>
                <c:pt idx="34">
                  <c:v>257</c:v>
                </c:pt>
                <c:pt idx="35">
                  <c:v>269</c:v>
                </c:pt>
                <c:pt idx="36">
                  <c:v>277</c:v>
                </c:pt>
                <c:pt idx="37">
                  <c:v>284</c:v>
                </c:pt>
                <c:pt idx="38">
                  <c:v>293</c:v>
                </c:pt>
                <c:pt idx="39">
                  <c:v>303</c:v>
                </c:pt>
                <c:pt idx="40">
                  <c:v>315</c:v>
                </c:pt>
                <c:pt idx="41">
                  <c:v>328</c:v>
                </c:pt>
                <c:pt idx="42">
                  <c:v>336</c:v>
                </c:pt>
                <c:pt idx="43">
                  <c:v>348</c:v>
                </c:pt>
                <c:pt idx="44">
                  <c:v>359</c:v>
                </c:pt>
                <c:pt idx="45">
                  <c:v>371</c:v>
                </c:pt>
                <c:pt idx="46">
                  <c:v>384</c:v>
                </c:pt>
                <c:pt idx="47">
                  <c:v>402</c:v>
                </c:pt>
                <c:pt idx="48">
                  <c:v>414</c:v>
                </c:pt>
                <c:pt idx="49">
                  <c:v>430</c:v>
                </c:pt>
                <c:pt idx="50">
                  <c:v>440</c:v>
                </c:pt>
                <c:pt idx="51">
                  <c:v>455</c:v>
                </c:pt>
                <c:pt idx="52">
                  <c:v>465</c:v>
                </c:pt>
                <c:pt idx="53">
                  <c:v>483</c:v>
                </c:pt>
                <c:pt idx="54">
                  <c:v>496</c:v>
                </c:pt>
                <c:pt idx="55">
                  <c:v>514</c:v>
                </c:pt>
                <c:pt idx="56">
                  <c:v>534</c:v>
                </c:pt>
                <c:pt idx="57">
                  <c:v>551</c:v>
                </c:pt>
                <c:pt idx="58">
                  <c:v>559</c:v>
                </c:pt>
                <c:pt idx="59">
                  <c:v>581</c:v>
                </c:pt>
                <c:pt idx="60">
                  <c:v>605</c:v>
                </c:pt>
                <c:pt idx="61">
                  <c:v>620</c:v>
                </c:pt>
                <c:pt idx="62">
                  <c:v>641</c:v>
                </c:pt>
                <c:pt idx="63">
                  <c:v>662</c:v>
                </c:pt>
                <c:pt idx="64">
                  <c:v>679</c:v>
                </c:pt>
                <c:pt idx="65">
                  <c:v>692</c:v>
                </c:pt>
                <c:pt idx="66">
                  <c:v>710</c:v>
                </c:pt>
                <c:pt idx="67">
                  <c:v>725</c:v>
                </c:pt>
                <c:pt idx="68">
                  <c:v>748</c:v>
                </c:pt>
                <c:pt idx="69">
                  <c:v>758</c:v>
                </c:pt>
                <c:pt idx="70">
                  <c:v>774</c:v>
                </c:pt>
                <c:pt idx="71">
                  <c:v>787</c:v>
                </c:pt>
                <c:pt idx="72">
                  <c:v>798</c:v>
                </c:pt>
                <c:pt idx="73">
                  <c:v>812</c:v>
                </c:pt>
                <c:pt idx="74">
                  <c:v>835</c:v>
                </c:pt>
                <c:pt idx="75">
                  <c:v>849</c:v>
                </c:pt>
                <c:pt idx="76">
                  <c:v>862</c:v>
                </c:pt>
                <c:pt idx="77">
                  <c:v>870</c:v>
                </c:pt>
                <c:pt idx="78">
                  <c:v>876</c:v>
                </c:pt>
                <c:pt idx="79">
                  <c:v>885</c:v>
                </c:pt>
                <c:pt idx="80">
                  <c:v>900</c:v>
                </c:pt>
                <c:pt idx="81">
                  <c:v>910</c:v>
                </c:pt>
                <c:pt idx="82">
                  <c:v>922</c:v>
                </c:pt>
                <c:pt idx="83">
                  <c:v>932</c:v>
                </c:pt>
                <c:pt idx="84">
                  <c:v>939</c:v>
                </c:pt>
                <c:pt idx="85">
                  <c:v>947</c:v>
                </c:pt>
                <c:pt idx="86">
                  <c:v>951</c:v>
                </c:pt>
                <c:pt idx="87">
                  <c:v>960</c:v>
                </c:pt>
                <c:pt idx="88">
                  <c:v>971</c:v>
                </c:pt>
                <c:pt idx="89">
                  <c:v>980</c:v>
                </c:pt>
                <c:pt idx="90">
                  <c:v>987</c:v>
                </c:pt>
                <c:pt idx="91">
                  <c:v>995</c:v>
                </c:pt>
                <c:pt idx="92">
                  <c:v>999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754.10369595203315</c:v>
                </c:pt>
                <c:pt idx="71">
                  <c:v>764.99023946079217</c:v>
                </c:pt>
                <c:pt idx="72">
                  <c:v>775.64833579958702</c:v>
                </c:pt>
                <c:pt idx="73">
                  <c:v>786.06444507978676</c:v>
                </c:pt>
                <c:pt idx="74">
                  <c:v>796.21083385542408</c:v>
                </c:pt>
                <c:pt idx="75">
                  <c:v>806.08465553118594</c:v>
                </c:pt>
                <c:pt idx="76">
                  <c:v>815.7029917930754</c:v>
                </c:pt>
                <c:pt idx="77">
                  <c:v>825.05995367740047</c:v>
                </c:pt>
                <c:pt idx="78">
                  <c:v>834.1212643872168</c:v>
                </c:pt>
                <c:pt idx="79">
                  <c:v>842.85311663716379</c:v>
                </c:pt>
                <c:pt idx="80">
                  <c:v>851.25569414619497</c:v>
                </c:pt>
                <c:pt idx="81">
                  <c:v>859.34155254438519</c:v>
                </c:pt>
                <c:pt idx="82">
                  <c:v>867.13705462017992</c:v>
                </c:pt>
                <c:pt idx="83">
                  <c:v>874.65064867728165</c:v>
                </c:pt>
                <c:pt idx="84">
                  <c:v>881.89305095603618</c:v>
                </c:pt>
                <c:pt idx="85">
                  <c:v>888.86881468184049</c:v>
                </c:pt>
                <c:pt idx="86">
                  <c:v>895.58329484599358</c:v>
                </c:pt>
                <c:pt idx="87">
                  <c:v>902.04305550723382</c:v>
                </c:pt>
                <c:pt idx="88">
                  <c:v>908.26237705492804</c:v>
                </c:pt>
                <c:pt idx="89">
                  <c:v>914.25003936452947</c:v>
                </c:pt>
                <c:pt idx="90">
                  <c:v>920.0111797519105</c:v>
                </c:pt>
                <c:pt idx="91">
                  <c:v>925.55229593159152</c:v>
                </c:pt>
                <c:pt idx="92">
                  <c:v>930.88305589787149</c:v>
                </c:pt>
                <c:pt idx="93">
                  <c:v>936.012265094549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70F-44FA-8EAA-CF7A48496ADD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754.44660403978764</c:v>
                </c:pt>
                <c:pt idx="71">
                  <c:v>765.84960270804254</c:v>
                </c:pt>
                <c:pt idx="72">
                  <c:v>777.18154078931059</c:v>
                </c:pt>
                <c:pt idx="73">
                  <c:v>788.4466288874363</c:v>
                </c:pt>
                <c:pt idx="74">
                  <c:v>799.62705048315911</c:v>
                </c:pt>
                <c:pt idx="75">
                  <c:v>810.70715286978088</c:v>
                </c:pt>
                <c:pt idx="76">
                  <c:v>821.70093521556385</c:v>
                </c:pt>
                <c:pt idx="77">
                  <c:v>832.59863549672536</c:v>
                </c:pt>
                <c:pt idx="78">
                  <c:v>843.36820969407756</c:v>
                </c:pt>
                <c:pt idx="79">
                  <c:v>853.96916173390275</c:v>
                </c:pt>
                <c:pt idx="80">
                  <c:v>864.39248431806072</c:v>
                </c:pt>
                <c:pt idx="81">
                  <c:v>874.63850767954227</c:v>
                </c:pt>
                <c:pt idx="82">
                  <c:v>884.71877915214077</c:v>
                </c:pt>
                <c:pt idx="83">
                  <c:v>894.63298245281794</c:v>
                </c:pt>
                <c:pt idx="84">
                  <c:v>904.38535442120951</c:v>
                </c:pt>
                <c:pt idx="85">
                  <c:v>913.97287803433517</c:v>
                </c:pt>
                <c:pt idx="86">
                  <c:v>923.39471581543808</c:v>
                </c:pt>
                <c:pt idx="87">
                  <c:v>932.64962196514693</c:v>
                </c:pt>
                <c:pt idx="88">
                  <c:v>941.74500721726895</c:v>
                </c:pt>
                <c:pt idx="89">
                  <c:v>950.68307285408662</c:v>
                </c:pt>
                <c:pt idx="90">
                  <c:v>959.46265263791292</c:v>
                </c:pt>
                <c:pt idx="91">
                  <c:v>968.08410508992586</c:v>
                </c:pt>
                <c:pt idx="92">
                  <c:v>976.55200311923841</c:v>
                </c:pt>
                <c:pt idx="93">
                  <c:v>984.86838859601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70F-44FA-8EAA-CF7A48496ADD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757.02685761588475</c:v>
                </c:pt>
                <c:pt idx="71">
                  <c:v>771.27819609532037</c:v>
                </c:pt>
                <c:pt idx="72">
                  <c:v>785.73948782022546</c:v>
                </c:pt>
                <c:pt idx="73">
                  <c:v>800.41983980331077</c:v>
                </c:pt>
                <c:pt idx="74">
                  <c:v>815.33220347497127</c:v>
                </c:pt>
                <c:pt idx="75">
                  <c:v>830.45959442852563</c:v>
                </c:pt>
                <c:pt idx="76">
                  <c:v>845.8192681831822</c:v>
                </c:pt>
                <c:pt idx="77">
                  <c:v>861.40460315127041</c:v>
                </c:pt>
                <c:pt idx="78">
                  <c:v>877.21195108540633</c:v>
                </c:pt>
                <c:pt idx="79">
                  <c:v>893.23049434240988</c:v>
                </c:pt>
                <c:pt idx="80">
                  <c:v>909.46014079396002</c:v>
                </c:pt>
                <c:pt idx="81">
                  <c:v>925.89185650627928</c:v>
                </c:pt>
                <c:pt idx="82">
                  <c:v>942.51782558440914</c:v>
                </c:pt>
                <c:pt idx="83">
                  <c:v>959.34468800686045</c:v>
                </c:pt>
                <c:pt idx="84">
                  <c:v>976.38210448714528</c:v>
                </c:pt>
                <c:pt idx="85">
                  <c:v>993.63038991474855</c:v>
                </c:pt>
                <c:pt idx="86">
                  <c:v>1011.0866339535869</c:v>
                </c:pt>
                <c:pt idx="87">
                  <c:v>1028.7789765937332</c:v>
                </c:pt>
                <c:pt idx="88">
                  <c:v>1046.7959568438355</c:v>
                </c:pt>
                <c:pt idx="89">
                  <c:v>1065.1446423136285</c:v>
                </c:pt>
                <c:pt idx="90">
                  <c:v>1083.8286752641893</c:v>
                </c:pt>
                <c:pt idx="91">
                  <c:v>1102.851112245236</c:v>
                </c:pt>
                <c:pt idx="92">
                  <c:v>1122.2176670160293</c:v>
                </c:pt>
                <c:pt idx="93">
                  <c:v>1141.93051970881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70F-44FA-8EAA-CF7A48496ADD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757.14105456590096</c:v>
                </c:pt>
                <c:pt idx="71">
                  <c:v>771.57144449983809</c:v>
                </c:pt>
                <c:pt idx="72">
                  <c:v>786.27909386938597</c:v>
                </c:pt>
                <c:pt idx="73">
                  <c:v>801.28403347122469</c:v>
                </c:pt>
                <c:pt idx="74">
                  <c:v>816.60835469383301</c:v>
                </c:pt>
                <c:pt idx="75">
                  <c:v>832.23091906495836</c:v>
                </c:pt>
                <c:pt idx="76">
                  <c:v>848.17114273995446</c:v>
                </c:pt>
                <c:pt idx="77">
                  <c:v>864.42773170274461</c:v>
                </c:pt>
                <c:pt idx="78">
                  <c:v>881.00935933815936</c:v>
                </c:pt>
                <c:pt idx="79">
                  <c:v>897.91034730808622</c:v>
                </c:pt>
                <c:pt idx="80">
                  <c:v>915.13293280557878</c:v>
                </c:pt>
                <c:pt idx="81">
                  <c:v>932.66870560048289</c:v>
                </c:pt>
                <c:pt idx="82">
                  <c:v>950.6337790421253</c:v>
                </c:pt>
                <c:pt idx="83">
                  <c:v>969.08412550136143</c:v>
                </c:pt>
                <c:pt idx="84">
                  <c:v>988.04614129846402</c:v>
                </c:pt>
                <c:pt idx="85">
                  <c:v>1007.528068581683</c:v>
                </c:pt>
                <c:pt idx="86">
                  <c:v>1027.5356080182924</c:v>
                </c:pt>
                <c:pt idx="87">
                  <c:v>1048.0695069854069</c:v>
                </c:pt>
                <c:pt idx="88">
                  <c:v>1069.1471465194359</c:v>
                </c:pt>
                <c:pt idx="89">
                  <c:v>1090.7856450026725</c:v>
                </c:pt>
                <c:pt idx="90">
                  <c:v>1112.9981397086135</c:v>
                </c:pt>
                <c:pt idx="91">
                  <c:v>1135.7966691262266</c:v>
                </c:pt>
                <c:pt idx="92">
                  <c:v>1159.1954014765745</c:v>
                </c:pt>
                <c:pt idx="93">
                  <c:v>1183.20434569794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9</c:v>
                </c:pt>
                <c:pt idx="2">
                  <c:v>12</c:v>
                </c:pt>
                <c:pt idx="3">
                  <c:v>18</c:v>
                </c:pt>
                <c:pt idx="4">
                  <c:v>27</c:v>
                </c:pt>
                <c:pt idx="5">
                  <c:v>33</c:v>
                </c:pt>
                <c:pt idx="6">
                  <c:v>39</c:v>
                </c:pt>
                <c:pt idx="7">
                  <c:v>45</c:v>
                </c:pt>
                <c:pt idx="8">
                  <c:v>53</c:v>
                </c:pt>
                <c:pt idx="9">
                  <c:v>59</c:v>
                </c:pt>
                <c:pt idx="10">
                  <c:v>69</c:v>
                </c:pt>
                <c:pt idx="11">
                  <c:v>78</c:v>
                </c:pt>
                <c:pt idx="12">
                  <c:v>86</c:v>
                </c:pt>
                <c:pt idx="13">
                  <c:v>87</c:v>
                </c:pt>
                <c:pt idx="14">
                  <c:v>99</c:v>
                </c:pt>
                <c:pt idx="15">
                  <c:v>105</c:v>
                </c:pt>
                <c:pt idx="16">
                  <c:v>111</c:v>
                </c:pt>
                <c:pt idx="17">
                  <c:v>114</c:v>
                </c:pt>
                <c:pt idx="18">
                  <c:v>121</c:v>
                </c:pt>
                <c:pt idx="19">
                  <c:v>129</c:v>
                </c:pt>
                <c:pt idx="20">
                  <c:v>136</c:v>
                </c:pt>
                <c:pt idx="21">
                  <c:v>144</c:v>
                </c:pt>
                <c:pt idx="22">
                  <c:v>151</c:v>
                </c:pt>
                <c:pt idx="23">
                  <c:v>161</c:v>
                </c:pt>
                <c:pt idx="24">
                  <c:v>166</c:v>
                </c:pt>
                <c:pt idx="25">
                  <c:v>171</c:v>
                </c:pt>
                <c:pt idx="26">
                  <c:v>175</c:v>
                </c:pt>
                <c:pt idx="27">
                  <c:v>180</c:v>
                </c:pt>
                <c:pt idx="28">
                  <c:v>189</c:v>
                </c:pt>
                <c:pt idx="29">
                  <c:v>198</c:v>
                </c:pt>
                <c:pt idx="30">
                  <c:v>203</c:v>
                </c:pt>
                <c:pt idx="31">
                  <c:v>208</c:v>
                </c:pt>
                <c:pt idx="32">
                  <c:v>212</c:v>
                </c:pt>
                <c:pt idx="33">
                  <c:v>219</c:v>
                </c:pt>
                <c:pt idx="34">
                  <c:v>226</c:v>
                </c:pt>
                <c:pt idx="35">
                  <c:v>235</c:v>
                </c:pt>
                <c:pt idx="36">
                  <c:v>247</c:v>
                </c:pt>
                <c:pt idx="37">
                  <c:v>252</c:v>
                </c:pt>
                <c:pt idx="38">
                  <c:v>261</c:v>
                </c:pt>
                <c:pt idx="39">
                  <c:v>268</c:v>
                </c:pt>
                <c:pt idx="40">
                  <c:v>272</c:v>
                </c:pt>
                <c:pt idx="41">
                  <c:v>282</c:v>
                </c:pt>
                <c:pt idx="42">
                  <c:v>288</c:v>
                </c:pt>
                <c:pt idx="43">
                  <c:v>290</c:v>
                </c:pt>
                <c:pt idx="44">
                  <c:v>296</c:v>
                </c:pt>
                <c:pt idx="45">
                  <c:v>302</c:v>
                </c:pt>
                <c:pt idx="46">
                  <c:v>311</c:v>
                </c:pt>
                <c:pt idx="47">
                  <c:v>318</c:v>
                </c:pt>
                <c:pt idx="48">
                  <c:v>324</c:v>
                </c:pt>
                <c:pt idx="49">
                  <c:v>327</c:v>
                </c:pt>
                <c:pt idx="50">
                  <c:v>335</c:v>
                </c:pt>
                <c:pt idx="51">
                  <c:v>341</c:v>
                </c:pt>
                <c:pt idx="52">
                  <c:v>346</c:v>
                </c:pt>
                <c:pt idx="53">
                  <c:v>354</c:v>
                </c:pt>
                <c:pt idx="54">
                  <c:v>364</c:v>
                </c:pt>
                <c:pt idx="55">
                  <c:v>374</c:v>
                </c:pt>
                <c:pt idx="56">
                  <c:v>377</c:v>
                </c:pt>
                <c:pt idx="57">
                  <c:v>385</c:v>
                </c:pt>
                <c:pt idx="58">
                  <c:v>386</c:v>
                </c:pt>
                <c:pt idx="59">
                  <c:v>401</c:v>
                </c:pt>
                <c:pt idx="60">
                  <c:v>412</c:v>
                </c:pt>
                <c:pt idx="61">
                  <c:v>417</c:v>
                </c:pt>
                <c:pt idx="62">
                  <c:v>423</c:v>
                </c:pt>
                <c:pt idx="63">
                  <c:v>428</c:v>
                </c:pt>
                <c:pt idx="64">
                  <c:v>433</c:v>
                </c:pt>
                <c:pt idx="65">
                  <c:v>436</c:v>
                </c:pt>
                <c:pt idx="66">
                  <c:v>443</c:v>
                </c:pt>
                <c:pt idx="67">
                  <c:v>449</c:v>
                </c:pt>
                <c:pt idx="68">
                  <c:v>453</c:v>
                </c:pt>
                <c:pt idx="69">
                  <c:v>458</c:v>
                </c:pt>
                <c:pt idx="70">
                  <c:v>462</c:v>
                </c:pt>
                <c:pt idx="71">
                  <c:v>465</c:v>
                </c:pt>
                <c:pt idx="72">
                  <c:v>467</c:v>
                </c:pt>
                <c:pt idx="73">
                  <c:v>470</c:v>
                </c:pt>
                <c:pt idx="74">
                  <c:v>473</c:v>
                </c:pt>
                <c:pt idx="75">
                  <c:v>480</c:v>
                </c:pt>
                <c:pt idx="76">
                  <c:v>488</c:v>
                </c:pt>
                <c:pt idx="77">
                  <c:v>490</c:v>
                </c:pt>
                <c:pt idx="78">
                  <c:v>492</c:v>
                </c:pt>
                <c:pt idx="79">
                  <c:v>494</c:v>
                </c:pt>
                <c:pt idx="80">
                  <c:v>497</c:v>
                </c:pt>
                <c:pt idx="81">
                  <c:v>501</c:v>
                </c:pt>
                <c:pt idx="82">
                  <c:v>503</c:v>
                </c:pt>
                <c:pt idx="83">
                  <c:v>508</c:v>
                </c:pt>
                <c:pt idx="84">
                  <c:v>511</c:v>
                </c:pt>
                <c:pt idx="85">
                  <c:v>514</c:v>
                </c:pt>
                <c:pt idx="86">
                  <c:v>516</c:v>
                </c:pt>
                <c:pt idx="87">
                  <c:v>516</c:v>
                </c:pt>
                <c:pt idx="88">
                  <c:v>520</c:v>
                </c:pt>
                <c:pt idx="89">
                  <c:v>520</c:v>
                </c:pt>
                <c:pt idx="90">
                  <c:v>521</c:v>
                </c:pt>
                <c:pt idx="91">
                  <c:v>521</c:v>
                </c:pt>
                <c:pt idx="92">
                  <c:v>523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461.84528584553067</c:v>
                </c:pt>
                <c:pt idx="71">
                  <c:v>465.61576750997676</c:v>
                </c:pt>
                <c:pt idx="72">
                  <c:v>469.30785298596118</c:v>
                </c:pt>
                <c:pt idx="73">
                  <c:v>472.91519641306206</c:v>
                </c:pt>
                <c:pt idx="74">
                  <c:v>476.42801493424827</c:v>
                </c:pt>
                <c:pt idx="75">
                  <c:v>479.846173692614</c:v>
                </c:pt>
                <c:pt idx="76">
                  <c:v>483.17622662242945</c:v>
                </c:pt>
                <c:pt idx="77">
                  <c:v>486.41586474828659</c:v>
                </c:pt>
                <c:pt idx="78">
                  <c:v>489.5525900536897</c:v>
                </c:pt>
                <c:pt idx="79">
                  <c:v>492.5753015564672</c:v>
                </c:pt>
                <c:pt idx="80">
                  <c:v>495.48451255431286</c:v>
                </c:pt>
                <c:pt idx="81">
                  <c:v>498.28449140582086</c:v>
                </c:pt>
                <c:pt idx="82">
                  <c:v>500.98399454401317</c:v>
                </c:pt>
                <c:pt idx="83">
                  <c:v>503.58589137980636</c:v>
                </c:pt>
                <c:pt idx="84">
                  <c:v>506.09387239929788</c:v>
                </c:pt>
                <c:pt idx="85">
                  <c:v>508.50956925998656</c:v>
                </c:pt>
                <c:pt idx="86">
                  <c:v>510.83469808543998</c:v>
                </c:pt>
                <c:pt idx="87">
                  <c:v>513.07166353401999</c:v>
                </c:pt>
                <c:pt idx="88">
                  <c:v>515.22534873728807</c:v>
                </c:pt>
                <c:pt idx="89">
                  <c:v>517.29885959111368</c:v>
                </c:pt>
                <c:pt idx="90">
                  <c:v>519.29397550638691</c:v>
                </c:pt>
                <c:pt idx="91">
                  <c:v>521.21295846665134</c:v>
                </c:pt>
                <c:pt idx="92">
                  <c:v>523.05907114574825</c:v>
                </c:pt>
                <c:pt idx="93">
                  <c:v>524.835352516709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397-404B-814C-452B633D3DD8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461.96429150202692</c:v>
                </c:pt>
                <c:pt idx="71">
                  <c:v>465.91395355487867</c:v>
                </c:pt>
                <c:pt idx="72">
                  <c:v>469.83989680714427</c:v>
                </c:pt>
                <c:pt idx="73">
                  <c:v>473.74180761411026</c:v>
                </c:pt>
                <c:pt idx="74">
                  <c:v>477.61341610011374</c:v>
                </c:pt>
                <c:pt idx="75">
                  <c:v>481.4500668007455</c:v>
                </c:pt>
                <c:pt idx="76">
                  <c:v>485.25712817991376</c:v>
                </c:pt>
                <c:pt idx="77">
                  <c:v>489.03079426009066</c:v>
                </c:pt>
                <c:pt idx="78">
                  <c:v>492.75941803777999</c:v>
                </c:pt>
                <c:pt idx="79">
                  <c:v>496.42961272302273</c:v>
                </c:pt>
                <c:pt idx="80">
                  <c:v>500.03872700850781</c:v>
                </c:pt>
                <c:pt idx="81">
                  <c:v>503.5868152843766</c:v>
                </c:pt>
                <c:pt idx="82">
                  <c:v>507.07748174299553</c:v>
                </c:pt>
                <c:pt idx="83">
                  <c:v>510.51067671092869</c:v>
                </c:pt>
                <c:pt idx="84">
                  <c:v>513.88784804601062</c:v>
                </c:pt>
                <c:pt idx="85">
                  <c:v>517.20798557189494</c:v>
                </c:pt>
                <c:pt idx="86">
                  <c:v>520.47065500058545</c:v>
                </c:pt>
                <c:pt idx="87">
                  <c:v>523.67556443404158</c:v>
                </c:pt>
                <c:pt idx="88">
                  <c:v>526.82521182176447</c:v>
                </c:pt>
                <c:pt idx="89">
                  <c:v>529.92043737893482</c:v>
                </c:pt>
                <c:pt idx="90">
                  <c:v>532.96082295166786</c:v>
                </c:pt>
                <c:pt idx="91">
                  <c:v>535.94652218986846</c:v>
                </c:pt>
                <c:pt idx="92">
                  <c:v>538.87901855595646</c:v>
                </c:pt>
                <c:pt idx="93">
                  <c:v>541.759028874397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397-404B-814C-452B633D3DD8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462.77774625751891</c:v>
                </c:pt>
                <c:pt idx="71">
                  <c:v>467.63825866897304</c:v>
                </c:pt>
                <c:pt idx="72">
                  <c:v>472.57618089772222</c:v>
                </c:pt>
                <c:pt idx="73">
                  <c:v>477.59487070176868</c:v>
                </c:pt>
                <c:pt idx="74">
                  <c:v>482.69910327693435</c:v>
                </c:pt>
                <c:pt idx="75">
                  <c:v>487.88261646797071</c:v>
                </c:pt>
                <c:pt idx="76">
                  <c:v>493.15177238938691</c:v>
                </c:pt>
                <c:pt idx="77">
                  <c:v>498.50412966005251</c:v>
                </c:pt>
                <c:pt idx="78">
                  <c:v>503.93834317018917</c:v>
                </c:pt>
                <c:pt idx="79">
                  <c:v>509.45042445188716</c:v>
                </c:pt>
                <c:pt idx="80">
                  <c:v>515.04033953741009</c:v>
                </c:pt>
                <c:pt idx="81">
                  <c:v>520.70475761297769</c:v>
                </c:pt>
                <c:pt idx="82">
                  <c:v>526.44079695604592</c:v>
                </c:pt>
                <c:pt idx="83">
                  <c:v>532.25090572845284</c:v>
                </c:pt>
                <c:pt idx="84">
                  <c:v>538.13864583783277</c:v>
                </c:pt>
                <c:pt idx="85">
                  <c:v>544.10413338402236</c:v>
                </c:pt>
                <c:pt idx="86">
                  <c:v>550.14629532533581</c:v>
                </c:pt>
                <c:pt idx="87">
                  <c:v>556.27365659419252</c:v>
                </c:pt>
                <c:pt idx="88">
                  <c:v>562.51342819178376</c:v>
                </c:pt>
                <c:pt idx="89">
                  <c:v>568.8681587721876</c:v>
                </c:pt>
                <c:pt idx="90">
                  <c:v>575.33906262517223</c:v>
                </c:pt>
                <c:pt idx="91">
                  <c:v>581.92726132910377</c:v>
                </c:pt>
                <c:pt idx="92">
                  <c:v>588.63460423914398</c:v>
                </c:pt>
                <c:pt idx="93">
                  <c:v>595.461900733156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397-404B-814C-452B633D3DD8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462.81985070328085</c:v>
                </c:pt>
                <c:pt idx="71">
                  <c:v>467.74637943350342</c:v>
                </c:pt>
                <c:pt idx="72">
                  <c:v>472.77513379117931</c:v>
                </c:pt>
                <c:pt idx="73">
                  <c:v>477.91349913635764</c:v>
                </c:pt>
                <c:pt idx="74">
                  <c:v>483.16962056983033</c:v>
                </c:pt>
                <c:pt idx="75">
                  <c:v>488.53570433127084</c:v>
                </c:pt>
                <c:pt idx="76">
                  <c:v>494.01890916230826</c:v>
                </c:pt>
                <c:pt idx="77">
                  <c:v>499.61875795887187</c:v>
                </c:pt>
                <c:pt idx="78">
                  <c:v>505.33844860024931</c:v>
                </c:pt>
                <c:pt idx="79">
                  <c:v>511.17588748167236</c:v>
                </c:pt>
                <c:pt idx="80">
                  <c:v>517.13189945681324</c:v>
                </c:pt>
                <c:pt idx="81">
                  <c:v>523.20338367158331</c:v>
                </c:pt>
                <c:pt idx="82">
                  <c:v>529.42519916837398</c:v>
                </c:pt>
                <c:pt idx="83">
                  <c:v>535.8151948118508</c:v>
                </c:pt>
                <c:pt idx="84">
                  <c:v>542.38249027063762</c:v>
                </c:pt>
                <c:pt idx="85">
                  <c:v>549.12991215934835</c:v>
                </c:pt>
                <c:pt idx="86">
                  <c:v>556.05927179070216</c:v>
                </c:pt>
                <c:pt idx="87">
                  <c:v>563.17099247362137</c:v>
                </c:pt>
                <c:pt idx="88">
                  <c:v>570.47101336695789</c:v>
                </c:pt>
                <c:pt idx="89">
                  <c:v>577.96536947674895</c:v>
                </c:pt>
                <c:pt idx="90">
                  <c:v>585.65855412376413</c:v>
                </c:pt>
                <c:pt idx="91">
                  <c:v>593.55480795537972</c:v>
                </c:pt>
                <c:pt idx="92">
                  <c:v>601.65890191889287</c:v>
                </c:pt>
                <c:pt idx="93">
                  <c:v>609.97436849963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</c:v>
                </c:pt>
                <c:pt idx="1">
                  <c:v>12</c:v>
                </c:pt>
                <c:pt idx="2">
                  <c:v>18</c:v>
                </c:pt>
                <c:pt idx="3">
                  <c:v>24</c:v>
                </c:pt>
                <c:pt idx="4">
                  <c:v>34</c:v>
                </c:pt>
                <c:pt idx="5">
                  <c:v>50</c:v>
                </c:pt>
                <c:pt idx="6">
                  <c:v>63</c:v>
                </c:pt>
                <c:pt idx="7">
                  <c:v>75</c:v>
                </c:pt>
                <c:pt idx="8">
                  <c:v>88</c:v>
                </c:pt>
                <c:pt idx="9">
                  <c:v>100</c:v>
                </c:pt>
                <c:pt idx="10">
                  <c:v>106</c:v>
                </c:pt>
                <c:pt idx="11">
                  <c:v>112</c:v>
                </c:pt>
                <c:pt idx="12">
                  <c:v>121</c:v>
                </c:pt>
                <c:pt idx="13">
                  <c:v>131</c:v>
                </c:pt>
                <c:pt idx="14">
                  <c:v>138</c:v>
                </c:pt>
                <c:pt idx="15">
                  <c:v>145</c:v>
                </c:pt>
                <c:pt idx="16">
                  <c:v>152</c:v>
                </c:pt>
                <c:pt idx="17">
                  <c:v>160</c:v>
                </c:pt>
                <c:pt idx="18">
                  <c:v>166</c:v>
                </c:pt>
                <c:pt idx="19">
                  <c:v>169</c:v>
                </c:pt>
                <c:pt idx="20">
                  <c:v>173</c:v>
                </c:pt>
                <c:pt idx="21">
                  <c:v>187</c:v>
                </c:pt>
                <c:pt idx="22">
                  <c:v>195</c:v>
                </c:pt>
                <c:pt idx="23">
                  <c:v>202</c:v>
                </c:pt>
                <c:pt idx="24">
                  <c:v>204</c:v>
                </c:pt>
                <c:pt idx="25">
                  <c:v>210</c:v>
                </c:pt>
                <c:pt idx="26">
                  <c:v>220</c:v>
                </c:pt>
                <c:pt idx="27">
                  <c:v>228</c:v>
                </c:pt>
                <c:pt idx="28">
                  <c:v>240</c:v>
                </c:pt>
                <c:pt idx="29">
                  <c:v>243</c:v>
                </c:pt>
                <c:pt idx="30">
                  <c:v>249</c:v>
                </c:pt>
                <c:pt idx="31">
                  <c:v>263</c:v>
                </c:pt>
                <c:pt idx="32">
                  <c:v>280</c:v>
                </c:pt>
                <c:pt idx="33">
                  <c:v>285</c:v>
                </c:pt>
                <c:pt idx="34">
                  <c:v>296</c:v>
                </c:pt>
                <c:pt idx="35">
                  <c:v>300</c:v>
                </c:pt>
                <c:pt idx="36">
                  <c:v>308</c:v>
                </c:pt>
                <c:pt idx="37">
                  <c:v>317</c:v>
                </c:pt>
                <c:pt idx="38">
                  <c:v>329</c:v>
                </c:pt>
                <c:pt idx="39">
                  <c:v>338</c:v>
                </c:pt>
                <c:pt idx="40">
                  <c:v>348</c:v>
                </c:pt>
                <c:pt idx="41">
                  <c:v>358</c:v>
                </c:pt>
                <c:pt idx="42">
                  <c:v>366</c:v>
                </c:pt>
                <c:pt idx="43">
                  <c:v>376</c:v>
                </c:pt>
                <c:pt idx="44">
                  <c:v>386</c:v>
                </c:pt>
                <c:pt idx="45">
                  <c:v>403</c:v>
                </c:pt>
                <c:pt idx="46">
                  <c:v>418</c:v>
                </c:pt>
                <c:pt idx="47">
                  <c:v>431</c:v>
                </c:pt>
                <c:pt idx="48">
                  <c:v>447</c:v>
                </c:pt>
                <c:pt idx="49">
                  <c:v>456</c:v>
                </c:pt>
                <c:pt idx="50">
                  <c:v>462</c:v>
                </c:pt>
                <c:pt idx="51">
                  <c:v>474</c:v>
                </c:pt>
                <c:pt idx="52">
                  <c:v>489</c:v>
                </c:pt>
                <c:pt idx="53">
                  <c:v>504</c:v>
                </c:pt>
                <c:pt idx="54">
                  <c:v>515</c:v>
                </c:pt>
                <c:pt idx="55">
                  <c:v>534</c:v>
                </c:pt>
                <c:pt idx="56">
                  <c:v>545</c:v>
                </c:pt>
                <c:pt idx="57">
                  <c:v>565</c:v>
                </c:pt>
                <c:pt idx="58">
                  <c:v>573</c:v>
                </c:pt>
                <c:pt idx="59">
                  <c:v>597</c:v>
                </c:pt>
                <c:pt idx="60">
                  <c:v>613</c:v>
                </c:pt>
                <c:pt idx="61">
                  <c:v>631</c:v>
                </c:pt>
                <c:pt idx="62">
                  <c:v>648</c:v>
                </c:pt>
                <c:pt idx="63">
                  <c:v>663</c:v>
                </c:pt>
                <c:pt idx="64">
                  <c:v>669</c:v>
                </c:pt>
                <c:pt idx="65">
                  <c:v>683</c:v>
                </c:pt>
                <c:pt idx="66">
                  <c:v>697</c:v>
                </c:pt>
                <c:pt idx="67">
                  <c:v>722</c:v>
                </c:pt>
                <c:pt idx="68">
                  <c:v>735</c:v>
                </c:pt>
                <c:pt idx="69">
                  <c:v>748</c:v>
                </c:pt>
                <c:pt idx="70">
                  <c:v>775</c:v>
                </c:pt>
                <c:pt idx="71">
                  <c:v>791</c:v>
                </c:pt>
                <c:pt idx="72">
                  <c:v>797</c:v>
                </c:pt>
                <c:pt idx="73">
                  <c:v>820</c:v>
                </c:pt>
                <c:pt idx="74">
                  <c:v>839</c:v>
                </c:pt>
                <c:pt idx="75">
                  <c:v>860</c:v>
                </c:pt>
                <c:pt idx="76">
                  <c:v>876</c:v>
                </c:pt>
                <c:pt idx="77">
                  <c:v>898</c:v>
                </c:pt>
                <c:pt idx="78">
                  <c:v>917</c:v>
                </c:pt>
                <c:pt idx="79">
                  <c:v>924</c:v>
                </c:pt>
                <c:pt idx="80">
                  <c:v>949</c:v>
                </c:pt>
                <c:pt idx="81">
                  <c:v>962</c:v>
                </c:pt>
                <c:pt idx="82">
                  <c:v>982</c:v>
                </c:pt>
                <c:pt idx="83">
                  <c:v>1004</c:v>
                </c:pt>
                <c:pt idx="84">
                  <c:v>1015</c:v>
                </c:pt>
                <c:pt idx="85">
                  <c:v>1024</c:v>
                </c:pt>
                <c:pt idx="86">
                  <c:v>1033</c:v>
                </c:pt>
                <c:pt idx="87">
                  <c:v>1048</c:v>
                </c:pt>
                <c:pt idx="88">
                  <c:v>1064</c:v>
                </c:pt>
                <c:pt idx="89">
                  <c:v>1077</c:v>
                </c:pt>
                <c:pt idx="90">
                  <c:v>1084</c:v>
                </c:pt>
                <c:pt idx="91">
                  <c:v>1097</c:v>
                </c:pt>
                <c:pt idx="92">
                  <c:v>1107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761.24509538726795</c:v>
                </c:pt>
                <c:pt idx="71">
                  <c:v>773.25021030966911</c:v>
                </c:pt>
                <c:pt idx="72">
                  <c:v>785.00248212022768</c:v>
                </c:pt>
                <c:pt idx="73">
                  <c:v>796.4890896126509</c:v>
                </c:pt>
                <c:pt idx="74">
                  <c:v>807.67967595672098</c:v>
                </c:pt>
                <c:pt idx="75">
                  <c:v>818.57001804576362</c:v>
                </c:pt>
                <c:pt idx="76">
                  <c:v>829.17814025987502</c:v>
                </c:pt>
                <c:pt idx="77">
                  <c:v>839.49789167285257</c:v>
                </c:pt>
                <c:pt idx="78">
                  <c:v>849.49227159774136</c:v>
                </c:pt>
                <c:pt idx="79">
                  <c:v>859.12322473518657</c:v>
                </c:pt>
                <c:pt idx="80">
                  <c:v>868.39038090910856</c:v>
                </c:pt>
                <c:pt idx="81">
                  <c:v>877.30768797257019</c:v>
                </c:pt>
                <c:pt idx="82">
                  <c:v>885.90469401030396</c:v>
                </c:pt>
                <c:pt idx="83">
                  <c:v>894.19078747155004</c:v>
                </c:pt>
                <c:pt idx="84">
                  <c:v>902.17781243438412</c:v>
                </c:pt>
                <c:pt idx="85">
                  <c:v>909.87072031200273</c:v>
                </c:pt>
                <c:pt idx="86">
                  <c:v>917.27559278080207</c:v>
                </c:pt>
                <c:pt idx="87">
                  <c:v>924.39950117427475</c:v>
                </c:pt>
                <c:pt idx="88">
                  <c:v>931.25827313898014</c:v>
                </c:pt>
                <c:pt idx="89">
                  <c:v>937.86150781404115</c:v>
                </c:pt>
                <c:pt idx="90">
                  <c:v>944.21487019163601</c:v>
                </c:pt>
                <c:pt idx="91">
                  <c:v>950.32551091023788</c:v>
                </c:pt>
                <c:pt idx="92">
                  <c:v>956.20420058474724</c:v>
                </c:pt>
                <c:pt idx="93">
                  <c:v>961.860663073533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A15-47B2-8064-2B03AA43ECF7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761.62292871468719</c:v>
                </c:pt>
                <c:pt idx="71">
                  <c:v>774.19716922355701</c:v>
                </c:pt>
                <c:pt idx="72">
                  <c:v>786.69191089471974</c:v>
                </c:pt>
                <c:pt idx="73">
                  <c:v>799.11405402557921</c:v>
                </c:pt>
                <c:pt idx="74">
                  <c:v>811.44407789638012</c:v>
                </c:pt>
                <c:pt idx="75">
                  <c:v>823.66374613332607</c:v>
                </c:pt>
                <c:pt idx="76">
                  <c:v>835.78783400328041</c:v>
                </c:pt>
                <c:pt idx="77">
                  <c:v>847.80611776038779</c:v>
                </c:pt>
                <c:pt idx="78">
                  <c:v>859.68395993063405</c:v>
                </c:pt>
                <c:pt idx="79">
                  <c:v>871.3758899221807</c:v>
                </c:pt>
                <c:pt idx="80">
                  <c:v>882.87137843645064</c:v>
                </c:pt>
                <c:pt idx="81">
                  <c:v>894.1708660426508</c:v>
                </c:pt>
                <c:pt idx="82">
                  <c:v>905.28758986919695</c:v>
                </c:pt>
                <c:pt idx="83">
                  <c:v>916.22112487635138</c:v>
                </c:pt>
                <c:pt idx="84">
                  <c:v>926.97616812445926</c:v>
                </c:pt>
                <c:pt idx="85">
                  <c:v>937.54934833458606</c:v>
                </c:pt>
                <c:pt idx="86">
                  <c:v>947.939925700647</c:v>
                </c:pt>
                <c:pt idx="87">
                  <c:v>958.14634863224092</c:v>
                </c:pt>
                <c:pt idx="88">
                  <c:v>968.17687682062831</c:v>
                </c:pt>
                <c:pt idx="89">
                  <c:v>978.03383860651752</c:v>
                </c:pt>
                <c:pt idx="90">
                  <c:v>987.71596605592185</c:v>
                </c:pt>
                <c:pt idx="91">
                  <c:v>997.22361697867314</c:v>
                </c:pt>
                <c:pt idx="92">
                  <c:v>1006.5619619437349</c:v>
                </c:pt>
                <c:pt idx="93">
                  <c:v>1015.73324034503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A15-47B2-8064-2B03AA43ECF7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764.57045297634954</c:v>
                </c:pt>
                <c:pt idx="71">
                  <c:v>780.38205913502827</c:v>
                </c:pt>
                <c:pt idx="72">
                  <c:v>796.41921188366757</c:v>
                </c:pt>
                <c:pt idx="73">
                  <c:v>812.6916946178851</c:v>
                </c:pt>
                <c:pt idx="74">
                  <c:v>829.21342067802561</c:v>
                </c:pt>
                <c:pt idx="75">
                  <c:v>845.96614421606273</c:v>
                </c:pt>
                <c:pt idx="76">
                  <c:v>862.96840232822808</c:v>
                </c:pt>
                <c:pt idx="77">
                  <c:v>880.2130816378467</c:v>
                </c:pt>
                <c:pt idx="78">
                  <c:v>897.69626294016894</c:v>
                </c:pt>
                <c:pt idx="79">
                  <c:v>915.40632515963023</c:v>
                </c:pt>
                <c:pt idx="80">
                  <c:v>933.34316932548768</c:v>
                </c:pt>
                <c:pt idx="81">
                  <c:v>951.49709054867003</c:v>
                </c:pt>
                <c:pt idx="82">
                  <c:v>969.8596924433466</c:v>
                </c:pt>
                <c:pt idx="83">
                  <c:v>988.43810814293079</c:v>
                </c:pt>
                <c:pt idx="84">
                  <c:v>1007.2427158675087</c:v>
                </c:pt>
                <c:pt idx="85">
                  <c:v>1026.2738538935823</c:v>
                </c:pt>
                <c:pt idx="86">
                  <c:v>1045.5283957327865</c:v>
                </c:pt>
                <c:pt idx="87">
                  <c:v>1065.0389281843404</c:v>
                </c:pt>
                <c:pt idx="88">
                  <c:v>1084.907486923028</c:v>
                </c:pt>
                <c:pt idx="89">
                  <c:v>1105.1417373021327</c:v>
                </c:pt>
                <c:pt idx="90">
                  <c:v>1125.7457559182239</c:v>
                </c:pt>
                <c:pt idx="91">
                  <c:v>1146.7228331757574</c:v>
                </c:pt>
                <c:pt idx="92">
                  <c:v>1168.0794349501314</c:v>
                </c:pt>
                <c:pt idx="93">
                  <c:v>1189.81789620786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A15-47B2-8064-2B03AA43ECF7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764.69313139745441</c:v>
                </c:pt>
                <c:pt idx="71">
                  <c:v>780.69708726189742</c:v>
                </c:pt>
                <c:pt idx="72">
                  <c:v>796.99889477467559</c:v>
                </c:pt>
                <c:pt idx="73">
                  <c:v>813.62007243089613</c:v>
                </c:pt>
                <c:pt idx="74">
                  <c:v>830.58435235876561</c:v>
                </c:pt>
                <c:pt idx="75">
                  <c:v>847.86902611992275</c:v>
                </c:pt>
                <c:pt idx="76">
                  <c:v>865.49495191839458</c:v>
                </c:pt>
                <c:pt idx="77">
                  <c:v>883.4607396308096</c:v>
                </c:pt>
                <c:pt idx="78">
                  <c:v>901.77570681912107</c:v>
                </c:pt>
                <c:pt idx="79">
                  <c:v>920.43375341188198</c:v>
                </c:pt>
                <c:pt idx="80">
                  <c:v>939.43728275972001</c:v>
                </c:pt>
                <c:pt idx="81">
                  <c:v>958.7772600000028</c:v>
                </c:pt>
                <c:pt idx="82">
                  <c:v>978.58855125034552</c:v>
                </c:pt>
                <c:pt idx="83">
                  <c:v>998.93483744945456</c:v>
                </c:pt>
                <c:pt idx="84">
                  <c:v>1019.8452557748399</c:v>
                </c:pt>
                <c:pt idx="85">
                  <c:v>1041.3289309030661</c:v>
                </c:pt>
                <c:pt idx="86">
                  <c:v>1063.3923569538847</c:v>
                </c:pt>
                <c:pt idx="87">
                  <c:v>1086.0361486125473</c:v>
                </c:pt>
                <c:pt idx="88">
                  <c:v>1109.2795755090619</c:v>
                </c:pt>
                <c:pt idx="89">
                  <c:v>1133.1413796725769</c:v>
                </c:pt>
                <c:pt idx="90">
                  <c:v>1157.6361204111577</c:v>
                </c:pt>
                <c:pt idx="91">
                  <c:v>1182.7769824569036</c:v>
                </c:pt>
                <c:pt idx="92">
                  <c:v>1208.579763175313</c:v>
                </c:pt>
                <c:pt idx="93">
                  <c:v>1235.05541589081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</c:v>
                </c:pt>
                <c:pt idx="1">
                  <c:v>8</c:v>
                </c:pt>
                <c:pt idx="2">
                  <c:v>16</c:v>
                </c:pt>
                <c:pt idx="3">
                  <c:v>19</c:v>
                </c:pt>
                <c:pt idx="4">
                  <c:v>23</c:v>
                </c:pt>
                <c:pt idx="5">
                  <c:v>30</c:v>
                </c:pt>
                <c:pt idx="6">
                  <c:v>33</c:v>
                </c:pt>
                <c:pt idx="7">
                  <c:v>38</c:v>
                </c:pt>
                <c:pt idx="8">
                  <c:v>45</c:v>
                </c:pt>
                <c:pt idx="9">
                  <c:v>50</c:v>
                </c:pt>
                <c:pt idx="10">
                  <c:v>56</c:v>
                </c:pt>
                <c:pt idx="11">
                  <c:v>60</c:v>
                </c:pt>
                <c:pt idx="12">
                  <c:v>67</c:v>
                </c:pt>
                <c:pt idx="13">
                  <c:v>71</c:v>
                </c:pt>
                <c:pt idx="14">
                  <c:v>75</c:v>
                </c:pt>
                <c:pt idx="15">
                  <c:v>79</c:v>
                </c:pt>
                <c:pt idx="16">
                  <c:v>85</c:v>
                </c:pt>
                <c:pt idx="17">
                  <c:v>96</c:v>
                </c:pt>
                <c:pt idx="18">
                  <c:v>103</c:v>
                </c:pt>
                <c:pt idx="19">
                  <c:v>106</c:v>
                </c:pt>
                <c:pt idx="20">
                  <c:v>113</c:v>
                </c:pt>
                <c:pt idx="21">
                  <c:v>117</c:v>
                </c:pt>
                <c:pt idx="22">
                  <c:v>120</c:v>
                </c:pt>
                <c:pt idx="23">
                  <c:v>129</c:v>
                </c:pt>
                <c:pt idx="24">
                  <c:v>134</c:v>
                </c:pt>
                <c:pt idx="25">
                  <c:v>138</c:v>
                </c:pt>
                <c:pt idx="26">
                  <c:v>143</c:v>
                </c:pt>
                <c:pt idx="27">
                  <c:v>149</c:v>
                </c:pt>
                <c:pt idx="28">
                  <c:v>156</c:v>
                </c:pt>
                <c:pt idx="29">
                  <c:v>158</c:v>
                </c:pt>
                <c:pt idx="30">
                  <c:v>161</c:v>
                </c:pt>
                <c:pt idx="31">
                  <c:v>166</c:v>
                </c:pt>
                <c:pt idx="32">
                  <c:v>172</c:v>
                </c:pt>
                <c:pt idx="33">
                  <c:v>179</c:v>
                </c:pt>
                <c:pt idx="34">
                  <c:v>186</c:v>
                </c:pt>
                <c:pt idx="35">
                  <c:v>191</c:v>
                </c:pt>
                <c:pt idx="36">
                  <c:v>199</c:v>
                </c:pt>
                <c:pt idx="37">
                  <c:v>201</c:v>
                </c:pt>
                <c:pt idx="38">
                  <c:v>209</c:v>
                </c:pt>
                <c:pt idx="39">
                  <c:v>217</c:v>
                </c:pt>
                <c:pt idx="40">
                  <c:v>227</c:v>
                </c:pt>
                <c:pt idx="41">
                  <c:v>235</c:v>
                </c:pt>
                <c:pt idx="42">
                  <c:v>239</c:v>
                </c:pt>
                <c:pt idx="43">
                  <c:v>244</c:v>
                </c:pt>
                <c:pt idx="44">
                  <c:v>251</c:v>
                </c:pt>
                <c:pt idx="45">
                  <c:v>262</c:v>
                </c:pt>
                <c:pt idx="46">
                  <c:v>268</c:v>
                </c:pt>
                <c:pt idx="47">
                  <c:v>271</c:v>
                </c:pt>
                <c:pt idx="48">
                  <c:v>277</c:v>
                </c:pt>
                <c:pt idx="49">
                  <c:v>285</c:v>
                </c:pt>
                <c:pt idx="50">
                  <c:v>298</c:v>
                </c:pt>
                <c:pt idx="51">
                  <c:v>303</c:v>
                </c:pt>
                <c:pt idx="52">
                  <c:v>320</c:v>
                </c:pt>
                <c:pt idx="53">
                  <c:v>339</c:v>
                </c:pt>
                <c:pt idx="54">
                  <c:v>350</c:v>
                </c:pt>
                <c:pt idx="55">
                  <c:v>363</c:v>
                </c:pt>
                <c:pt idx="56">
                  <c:v>371</c:v>
                </c:pt>
                <c:pt idx="57">
                  <c:v>382</c:v>
                </c:pt>
                <c:pt idx="58">
                  <c:v>393</c:v>
                </c:pt>
                <c:pt idx="59">
                  <c:v>403</c:v>
                </c:pt>
                <c:pt idx="60">
                  <c:v>420</c:v>
                </c:pt>
                <c:pt idx="61">
                  <c:v>433</c:v>
                </c:pt>
                <c:pt idx="62">
                  <c:v>447</c:v>
                </c:pt>
                <c:pt idx="63">
                  <c:v>458</c:v>
                </c:pt>
                <c:pt idx="64">
                  <c:v>466</c:v>
                </c:pt>
                <c:pt idx="65">
                  <c:v>475</c:v>
                </c:pt>
                <c:pt idx="66">
                  <c:v>496</c:v>
                </c:pt>
                <c:pt idx="67">
                  <c:v>523</c:v>
                </c:pt>
                <c:pt idx="68">
                  <c:v>537</c:v>
                </c:pt>
                <c:pt idx="69">
                  <c:v>558</c:v>
                </c:pt>
                <c:pt idx="70">
                  <c:v>570</c:v>
                </c:pt>
                <c:pt idx="71">
                  <c:v>576</c:v>
                </c:pt>
                <c:pt idx="72">
                  <c:v>589</c:v>
                </c:pt>
                <c:pt idx="73">
                  <c:v>605</c:v>
                </c:pt>
                <c:pt idx="74">
                  <c:v>620</c:v>
                </c:pt>
                <c:pt idx="75">
                  <c:v>630</c:v>
                </c:pt>
                <c:pt idx="76">
                  <c:v>644</c:v>
                </c:pt>
                <c:pt idx="77">
                  <c:v>654</c:v>
                </c:pt>
                <c:pt idx="78">
                  <c:v>663</c:v>
                </c:pt>
                <c:pt idx="79">
                  <c:v>672</c:v>
                </c:pt>
                <c:pt idx="80">
                  <c:v>682</c:v>
                </c:pt>
                <c:pt idx="81">
                  <c:v>688</c:v>
                </c:pt>
                <c:pt idx="82">
                  <c:v>698</c:v>
                </c:pt>
                <c:pt idx="83">
                  <c:v>712</c:v>
                </c:pt>
                <c:pt idx="84">
                  <c:v>720</c:v>
                </c:pt>
                <c:pt idx="85">
                  <c:v>725</c:v>
                </c:pt>
                <c:pt idx="86">
                  <c:v>733</c:v>
                </c:pt>
                <c:pt idx="87">
                  <c:v>740</c:v>
                </c:pt>
                <c:pt idx="88">
                  <c:v>742</c:v>
                </c:pt>
                <c:pt idx="89">
                  <c:v>750</c:v>
                </c:pt>
                <c:pt idx="90">
                  <c:v>754</c:v>
                </c:pt>
                <c:pt idx="91">
                  <c:v>760</c:v>
                </c:pt>
                <c:pt idx="92">
                  <c:v>764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567.54373106429784</c:v>
                </c:pt>
                <c:pt idx="71">
                  <c:v>576.90307422153683</c:v>
                </c:pt>
                <c:pt idx="72">
                  <c:v>586.07013640700768</c:v>
                </c:pt>
                <c:pt idx="73">
                  <c:v>595.02386627554654</c:v>
                </c:pt>
                <c:pt idx="74">
                  <c:v>603.73941209761063</c:v>
                </c:pt>
                <c:pt idx="75">
                  <c:v>612.21916179535231</c:v>
                </c:pt>
                <c:pt idx="76">
                  <c:v>620.48142446897748</c:v>
                </c:pt>
                <c:pt idx="77">
                  <c:v>628.51960684328913</c:v>
                </c:pt>
                <c:pt idx="78">
                  <c:v>636.30068126350056</c:v>
                </c:pt>
                <c:pt idx="79">
                  <c:v>643.79903707711628</c:v>
                </c:pt>
                <c:pt idx="80">
                  <c:v>651.01738701326099</c:v>
                </c:pt>
                <c:pt idx="81">
                  <c:v>657.96606970093899</c:v>
                </c:pt>
                <c:pt idx="82">
                  <c:v>664.66562398154758</c:v>
                </c:pt>
                <c:pt idx="83">
                  <c:v>671.12299141536334</c:v>
                </c:pt>
                <c:pt idx="84">
                  <c:v>677.34726555247448</c:v>
                </c:pt>
                <c:pt idx="85">
                  <c:v>683.34267153078372</c:v>
                </c:pt>
                <c:pt idx="86">
                  <c:v>689.11302600134468</c:v>
                </c:pt>
                <c:pt idx="87">
                  <c:v>694.66471783609109</c:v>
                </c:pt>
                <c:pt idx="88">
                  <c:v>700.00966740639831</c:v>
                </c:pt>
                <c:pt idx="89">
                  <c:v>705.15579246801735</c:v>
                </c:pt>
                <c:pt idx="90">
                  <c:v>710.10751042889456</c:v>
                </c:pt>
                <c:pt idx="91">
                  <c:v>714.87047306691113</c:v>
                </c:pt>
                <c:pt idx="92">
                  <c:v>719.45250480866662</c:v>
                </c:pt>
                <c:pt idx="93">
                  <c:v>723.861114858098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9A7-464E-9E50-188664B8CF1E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567.83990825464787</c:v>
                </c:pt>
                <c:pt idx="71">
                  <c:v>577.64501547491909</c:v>
                </c:pt>
                <c:pt idx="72">
                  <c:v>587.39410178814671</c:v>
                </c:pt>
                <c:pt idx="73">
                  <c:v>597.08071975429152</c:v>
                </c:pt>
                <c:pt idx="74">
                  <c:v>606.68898836547305</c:v>
                </c:pt>
                <c:pt idx="75">
                  <c:v>616.20980130606324</c:v>
                </c:pt>
                <c:pt idx="76">
                  <c:v>625.6581479588217</c:v>
                </c:pt>
                <c:pt idx="77">
                  <c:v>635.02322131078404</c:v>
                </c:pt>
                <c:pt idx="78">
                  <c:v>644.27435474542142</c:v>
                </c:pt>
                <c:pt idx="79">
                  <c:v>653.38036219053413</c:v>
                </c:pt>
                <c:pt idx="80">
                  <c:v>662.33616062106262</c:v>
                </c:pt>
                <c:pt idx="81">
                  <c:v>671.14169314625383</c:v>
                </c:pt>
                <c:pt idx="82">
                  <c:v>679.80464216370058</c:v>
                </c:pt>
                <c:pt idx="83">
                  <c:v>688.32507590511455</c:v>
                </c:pt>
                <c:pt idx="84">
                  <c:v>696.70652581727813</c:v>
                </c:pt>
                <c:pt idx="85">
                  <c:v>704.94659554362067</c:v>
                </c:pt>
                <c:pt idx="86">
                  <c:v>713.04374563032434</c:v>
                </c:pt>
                <c:pt idx="87">
                  <c:v>720.99769804378957</c:v>
                </c:pt>
                <c:pt idx="88">
                  <c:v>728.81443354798284</c:v>
                </c:pt>
                <c:pt idx="89">
                  <c:v>736.49628673137317</c:v>
                </c:pt>
                <c:pt idx="90">
                  <c:v>744.04217408255624</c:v>
                </c:pt>
                <c:pt idx="91">
                  <c:v>751.45257130987284</c:v>
                </c:pt>
                <c:pt idx="92">
                  <c:v>758.73083977242879</c:v>
                </c:pt>
                <c:pt idx="93">
                  <c:v>765.878789648981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A7-464E-9E50-188664B8CF1E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569.60254649031856</c:v>
                </c:pt>
                <c:pt idx="71">
                  <c:v>581.42659664440623</c:v>
                </c:pt>
                <c:pt idx="72">
                  <c:v>593.45781551816117</c:v>
                </c:pt>
                <c:pt idx="73">
                  <c:v>605.7051893416326</c:v>
                </c:pt>
                <c:pt idx="74">
                  <c:v>618.18149777558142</c:v>
                </c:pt>
                <c:pt idx="75">
                  <c:v>630.86998167070919</c:v>
                </c:pt>
                <c:pt idx="76">
                  <c:v>643.78766769318452</c:v>
                </c:pt>
                <c:pt idx="77">
                  <c:v>656.92802207480213</c:v>
                </c:pt>
                <c:pt idx="78">
                  <c:v>670.28744495342141</c:v>
                </c:pt>
                <c:pt idx="79">
                  <c:v>683.85526215593154</c:v>
                </c:pt>
                <c:pt idx="80">
                  <c:v>697.63138277587223</c:v>
                </c:pt>
                <c:pt idx="81">
                  <c:v>711.60689269291129</c:v>
                </c:pt>
                <c:pt idx="82">
                  <c:v>725.7740796711746</c:v>
                </c:pt>
                <c:pt idx="83">
                  <c:v>740.13949562579762</c:v>
                </c:pt>
                <c:pt idx="84">
                  <c:v>754.71267314411841</c:v>
                </c:pt>
                <c:pt idx="85">
                  <c:v>769.49392293936876</c:v>
                </c:pt>
                <c:pt idx="86">
                  <c:v>784.48037327408724</c:v>
                </c:pt>
                <c:pt idx="87">
                  <c:v>799.68927853068124</c:v>
                </c:pt>
                <c:pt idx="88">
                  <c:v>815.17713391654081</c:v>
                </c:pt>
                <c:pt idx="89">
                  <c:v>830.95058846453287</c:v>
                </c:pt>
                <c:pt idx="90">
                  <c:v>847.01250541738955</c:v>
                </c:pt>
                <c:pt idx="91">
                  <c:v>863.36587026422637</c:v>
                </c:pt>
                <c:pt idx="92">
                  <c:v>880.01485908459085</c:v>
                </c:pt>
                <c:pt idx="93">
                  <c:v>896.961654699940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9A7-464E-9E50-188664B8CF1E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569.71522889192602</c:v>
                </c:pt>
                <c:pt idx="71">
                  <c:v>581.71595581278973</c:v>
                </c:pt>
                <c:pt idx="72">
                  <c:v>593.99026498842045</c:v>
                </c:pt>
                <c:pt idx="73">
                  <c:v>606.55792155506492</c:v>
                </c:pt>
                <c:pt idx="74">
                  <c:v>619.44072391196482</c:v>
                </c:pt>
                <c:pt idx="75">
                  <c:v>632.61781393795843</c:v>
                </c:pt>
                <c:pt idx="76">
                  <c:v>646.10835027970791</c:v>
                </c:pt>
                <c:pt idx="77">
                  <c:v>659.9110560831532</c:v>
                </c:pt>
                <c:pt idx="78">
                  <c:v>674.03448970149611</c:v>
                </c:pt>
                <c:pt idx="79">
                  <c:v>688.4730481061481</c:v>
                </c:pt>
                <c:pt idx="80">
                  <c:v>703.22893881916707</c:v>
                </c:pt>
                <c:pt idx="81">
                  <c:v>718.29386315191323</c:v>
                </c:pt>
                <c:pt idx="82">
                  <c:v>733.73721540255099</c:v>
                </c:pt>
                <c:pt idx="83">
                  <c:v>749.59838468440284</c:v>
                </c:pt>
                <c:pt idx="84">
                  <c:v>765.89993640360046</c:v>
                </c:pt>
                <c:pt idx="85">
                  <c:v>782.64879739992762</c:v>
                </c:pt>
                <c:pt idx="86">
                  <c:v>799.84894212152574</c:v>
                </c:pt>
                <c:pt idx="87">
                  <c:v>817.50194747774412</c:v>
                </c:pt>
                <c:pt idx="88">
                  <c:v>835.62229804026197</c:v>
                </c:pt>
                <c:pt idx="89">
                  <c:v>854.22531396383715</c:v>
                </c:pt>
                <c:pt idx="90">
                  <c:v>873.32196751975675</c:v>
                </c:pt>
                <c:pt idx="91">
                  <c:v>892.92301290339378</c:v>
                </c:pt>
                <c:pt idx="92">
                  <c:v>913.03985739822451</c:v>
                </c:pt>
                <c:pt idx="93">
                  <c:v>933.681480585969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5</c:v>
                </c:pt>
                <c:pt idx="1">
                  <c:v>22</c:v>
                </c:pt>
                <c:pt idx="2">
                  <c:v>36</c:v>
                </c:pt>
                <c:pt idx="3">
                  <c:v>53</c:v>
                </c:pt>
                <c:pt idx="4">
                  <c:v>65</c:v>
                </c:pt>
                <c:pt idx="5">
                  <c:v>70</c:v>
                </c:pt>
                <c:pt idx="6">
                  <c:v>81</c:v>
                </c:pt>
                <c:pt idx="7">
                  <c:v>93</c:v>
                </c:pt>
                <c:pt idx="8">
                  <c:v>99</c:v>
                </c:pt>
                <c:pt idx="9">
                  <c:v>119</c:v>
                </c:pt>
                <c:pt idx="10">
                  <c:v>128</c:v>
                </c:pt>
                <c:pt idx="11">
                  <c:v>142</c:v>
                </c:pt>
                <c:pt idx="12">
                  <c:v>154</c:v>
                </c:pt>
                <c:pt idx="13">
                  <c:v>169</c:v>
                </c:pt>
                <c:pt idx="14">
                  <c:v>178</c:v>
                </c:pt>
                <c:pt idx="15">
                  <c:v>192</c:v>
                </c:pt>
                <c:pt idx="16">
                  <c:v>203</c:v>
                </c:pt>
                <c:pt idx="17">
                  <c:v>215</c:v>
                </c:pt>
                <c:pt idx="18">
                  <c:v>228</c:v>
                </c:pt>
                <c:pt idx="19">
                  <c:v>236</c:v>
                </c:pt>
                <c:pt idx="20">
                  <c:v>247</c:v>
                </c:pt>
                <c:pt idx="21">
                  <c:v>264</c:v>
                </c:pt>
                <c:pt idx="22">
                  <c:v>273</c:v>
                </c:pt>
                <c:pt idx="23">
                  <c:v>282</c:v>
                </c:pt>
                <c:pt idx="24">
                  <c:v>301</c:v>
                </c:pt>
                <c:pt idx="25">
                  <c:v>311</c:v>
                </c:pt>
                <c:pt idx="26">
                  <c:v>323</c:v>
                </c:pt>
                <c:pt idx="27">
                  <c:v>338</c:v>
                </c:pt>
                <c:pt idx="28">
                  <c:v>348</c:v>
                </c:pt>
                <c:pt idx="29">
                  <c:v>360</c:v>
                </c:pt>
                <c:pt idx="30">
                  <c:v>374</c:v>
                </c:pt>
                <c:pt idx="31">
                  <c:v>389</c:v>
                </c:pt>
                <c:pt idx="32">
                  <c:v>410</c:v>
                </c:pt>
                <c:pt idx="33">
                  <c:v>421</c:v>
                </c:pt>
                <c:pt idx="34">
                  <c:v>441</c:v>
                </c:pt>
                <c:pt idx="35">
                  <c:v>454</c:v>
                </c:pt>
                <c:pt idx="36">
                  <c:v>466</c:v>
                </c:pt>
                <c:pt idx="37">
                  <c:v>477</c:v>
                </c:pt>
                <c:pt idx="38">
                  <c:v>487</c:v>
                </c:pt>
                <c:pt idx="39">
                  <c:v>500</c:v>
                </c:pt>
                <c:pt idx="40">
                  <c:v>513</c:v>
                </c:pt>
                <c:pt idx="41">
                  <c:v>534</c:v>
                </c:pt>
                <c:pt idx="42">
                  <c:v>543</c:v>
                </c:pt>
                <c:pt idx="43">
                  <c:v>552</c:v>
                </c:pt>
                <c:pt idx="44">
                  <c:v>560</c:v>
                </c:pt>
                <c:pt idx="45">
                  <c:v>575</c:v>
                </c:pt>
                <c:pt idx="46">
                  <c:v>591</c:v>
                </c:pt>
                <c:pt idx="47">
                  <c:v>604</c:v>
                </c:pt>
                <c:pt idx="48">
                  <c:v>614</c:v>
                </c:pt>
                <c:pt idx="49">
                  <c:v>634</c:v>
                </c:pt>
                <c:pt idx="50">
                  <c:v>638</c:v>
                </c:pt>
                <c:pt idx="51">
                  <c:v>651</c:v>
                </c:pt>
                <c:pt idx="52">
                  <c:v>662</c:v>
                </c:pt>
                <c:pt idx="53">
                  <c:v>673</c:v>
                </c:pt>
                <c:pt idx="54">
                  <c:v>686</c:v>
                </c:pt>
                <c:pt idx="55">
                  <c:v>705</c:v>
                </c:pt>
                <c:pt idx="56">
                  <c:v>718</c:v>
                </c:pt>
                <c:pt idx="57">
                  <c:v>730</c:v>
                </c:pt>
                <c:pt idx="58">
                  <c:v>739</c:v>
                </c:pt>
                <c:pt idx="59">
                  <c:v>758</c:v>
                </c:pt>
                <c:pt idx="60">
                  <c:v>769</c:v>
                </c:pt>
                <c:pt idx="61">
                  <c:v>782</c:v>
                </c:pt>
                <c:pt idx="62">
                  <c:v>796</c:v>
                </c:pt>
                <c:pt idx="63">
                  <c:v>806</c:v>
                </c:pt>
                <c:pt idx="64">
                  <c:v>822</c:v>
                </c:pt>
                <c:pt idx="65">
                  <c:v>832</c:v>
                </c:pt>
                <c:pt idx="66">
                  <c:v>850</c:v>
                </c:pt>
                <c:pt idx="67">
                  <c:v>863</c:v>
                </c:pt>
                <c:pt idx="68">
                  <c:v>884</c:v>
                </c:pt>
                <c:pt idx="69">
                  <c:v>891</c:v>
                </c:pt>
                <c:pt idx="70">
                  <c:v>908</c:v>
                </c:pt>
                <c:pt idx="71">
                  <c:v>917</c:v>
                </c:pt>
                <c:pt idx="72">
                  <c:v>924</c:v>
                </c:pt>
                <c:pt idx="73">
                  <c:v>937</c:v>
                </c:pt>
                <c:pt idx="74">
                  <c:v>949</c:v>
                </c:pt>
                <c:pt idx="75">
                  <c:v>963</c:v>
                </c:pt>
                <c:pt idx="76">
                  <c:v>972</c:v>
                </c:pt>
                <c:pt idx="77">
                  <c:v>980</c:v>
                </c:pt>
                <c:pt idx="78">
                  <c:v>989</c:v>
                </c:pt>
                <c:pt idx="79">
                  <c:v>998</c:v>
                </c:pt>
                <c:pt idx="80">
                  <c:v>1007</c:v>
                </c:pt>
                <c:pt idx="81">
                  <c:v>1012</c:v>
                </c:pt>
                <c:pt idx="82">
                  <c:v>1018</c:v>
                </c:pt>
                <c:pt idx="83">
                  <c:v>1026</c:v>
                </c:pt>
                <c:pt idx="84">
                  <c:v>1031</c:v>
                </c:pt>
                <c:pt idx="85">
                  <c:v>1036</c:v>
                </c:pt>
                <c:pt idx="86">
                  <c:v>1043</c:v>
                </c:pt>
                <c:pt idx="87">
                  <c:v>1053</c:v>
                </c:pt>
                <c:pt idx="88">
                  <c:v>1058</c:v>
                </c:pt>
                <c:pt idx="89">
                  <c:v>1066</c:v>
                </c:pt>
                <c:pt idx="90">
                  <c:v>1070</c:v>
                </c:pt>
                <c:pt idx="91">
                  <c:v>1075</c:v>
                </c:pt>
                <c:pt idx="92">
                  <c:v>108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900.3996437358262</c:v>
                </c:pt>
                <c:pt idx="71">
                  <c:v>909.615971593979</c:v>
                </c:pt>
                <c:pt idx="72">
                  <c:v>918.63983301919279</c:v>
                </c:pt>
                <c:pt idx="73">
                  <c:v>927.45763521696915</c:v>
                </c:pt>
                <c:pt idx="74">
                  <c:v>936.0456712600062</c:v>
                </c:pt>
                <c:pt idx="75">
                  <c:v>944.40262574669782</c:v>
                </c:pt>
                <c:pt idx="76">
                  <c:v>952.54377992737727</c:v>
                </c:pt>
                <c:pt idx="77">
                  <c:v>960.46380190287846</c:v>
                </c:pt>
                <c:pt idx="78">
                  <c:v>968.13286795954161</c:v>
                </c:pt>
                <c:pt idx="79">
                  <c:v>975.52313937018732</c:v>
                </c:pt>
                <c:pt idx="80">
                  <c:v>982.63534995523275</c:v>
                </c:pt>
                <c:pt idx="81">
                  <c:v>989.48002591759746</c:v>
                </c:pt>
                <c:pt idx="82">
                  <c:v>996.07900430163693</c:v>
                </c:pt>
                <c:pt idx="83">
                  <c:v>1002.4393644777405</c:v>
                </c:pt>
                <c:pt idx="84">
                  <c:v>1008.5701515761631</c:v>
                </c:pt>
                <c:pt idx="85">
                  <c:v>1014.4752905836316</c:v>
                </c:pt>
                <c:pt idx="86">
                  <c:v>1020.1591367581599</c:v>
                </c:pt>
                <c:pt idx="87">
                  <c:v>1025.6274158788244</c:v>
                </c:pt>
                <c:pt idx="88">
                  <c:v>1030.8921366900338</c:v>
                </c:pt>
                <c:pt idx="89">
                  <c:v>1035.9608157065418</c:v>
                </c:pt>
                <c:pt idx="90">
                  <c:v>1040.8378022508955</c:v>
                </c:pt>
                <c:pt idx="91">
                  <c:v>1045.5286120022922</c:v>
                </c:pt>
                <c:pt idx="92">
                  <c:v>1050.0413193845479</c:v>
                </c:pt>
                <c:pt idx="93">
                  <c:v>1054.38336510472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E05-4A4D-8E6C-DB2C0120E7EF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900.6902536693907</c:v>
                </c:pt>
                <c:pt idx="71">
                  <c:v>910.34420017996342</c:v>
                </c:pt>
                <c:pt idx="72">
                  <c:v>919.93913609344145</c:v>
                </c:pt>
                <c:pt idx="73">
                  <c:v>929.47634722411806</c:v>
                </c:pt>
                <c:pt idx="74">
                  <c:v>938.94062283665755</c:v>
                </c:pt>
                <c:pt idx="75">
                  <c:v>948.31969644032722</c:v>
                </c:pt>
                <c:pt idx="76">
                  <c:v>957.62608811517657</c:v>
                </c:pt>
                <c:pt idx="77">
                  <c:v>966.85098700908441</c:v>
                </c:pt>
                <c:pt idx="78">
                  <c:v>975.96655956455447</c:v>
                </c:pt>
                <c:pt idx="79">
                  <c:v>984.93934408318648</c:v>
                </c:pt>
                <c:pt idx="80">
                  <c:v>993.76231743070423</c:v>
                </c:pt>
                <c:pt idx="81">
                  <c:v>1002.4356820344831</c:v>
                </c:pt>
                <c:pt idx="82">
                  <c:v>1010.9687054587034</c:v>
                </c:pt>
                <c:pt idx="83">
                  <c:v>1019.3611969381429</c:v>
                </c:pt>
                <c:pt idx="84">
                  <c:v>1027.616718162355</c:v>
                </c:pt>
                <c:pt idx="85">
                  <c:v>1035.7327596695177</c:v>
                </c:pt>
                <c:pt idx="86">
                  <c:v>1043.708426979681</c:v>
                </c:pt>
                <c:pt idx="87">
                  <c:v>1051.5428449239141</c:v>
                </c:pt>
                <c:pt idx="88">
                  <c:v>1059.2421989181628</c:v>
                </c:pt>
                <c:pt idx="89">
                  <c:v>1066.8084525971722</c:v>
                </c:pt>
                <c:pt idx="90">
                  <c:v>1074.2406003406747</c:v>
                </c:pt>
                <c:pt idx="91">
                  <c:v>1081.5389835757642</c:v>
                </c:pt>
                <c:pt idx="92">
                  <c:v>1088.7073446019547</c:v>
                </c:pt>
                <c:pt idx="93">
                  <c:v>1095.74742441797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E05-4A4D-8E6C-DB2C0120E7EF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902.77150588101279</c:v>
                </c:pt>
                <c:pt idx="71">
                  <c:v>914.73950694762721</c:v>
                </c:pt>
                <c:pt idx="72">
                  <c:v>926.89128671717231</c:v>
                </c:pt>
                <c:pt idx="73">
                  <c:v>939.23481684533681</c:v>
                </c:pt>
                <c:pt idx="74">
                  <c:v>951.78143412795703</c:v>
                </c:pt>
                <c:pt idx="75">
                  <c:v>964.51627157775226</c:v>
                </c:pt>
                <c:pt idx="76">
                  <c:v>977.45443349535572</c:v>
                </c:pt>
                <c:pt idx="77">
                  <c:v>990.59012379606918</c:v>
                </c:pt>
                <c:pt idx="78">
                  <c:v>1003.9201490538004</c:v>
                </c:pt>
                <c:pt idx="79">
                  <c:v>1017.4350402440155</c:v>
                </c:pt>
                <c:pt idx="80">
                  <c:v>1031.1347167238864</c:v>
                </c:pt>
                <c:pt idx="81">
                  <c:v>1045.0112708060224</c:v>
                </c:pt>
                <c:pt idx="82">
                  <c:v>1059.0578609908571</c:v>
                </c:pt>
                <c:pt idx="83">
                  <c:v>1073.2802994611723</c:v>
                </c:pt>
                <c:pt idx="84">
                  <c:v>1087.6870425444449</c:v>
                </c:pt>
                <c:pt idx="85">
                  <c:v>1102.2783658733813</c:v>
                </c:pt>
                <c:pt idx="86">
                  <c:v>1117.0517219389421</c:v>
                </c:pt>
                <c:pt idx="87">
                  <c:v>1132.0293630296605</c:v>
                </c:pt>
                <c:pt idx="88">
                  <c:v>1147.2818026615494</c:v>
                </c:pt>
                <c:pt idx="89">
                  <c:v>1162.8151538069174</c:v>
                </c:pt>
                <c:pt idx="90">
                  <c:v>1178.632439251488</c:v>
                </c:pt>
                <c:pt idx="91">
                  <c:v>1194.736327580722</c:v>
                </c:pt>
                <c:pt idx="92">
                  <c:v>1211.1314893201109</c:v>
                </c:pt>
                <c:pt idx="93">
                  <c:v>1227.81983996181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E05-4A4D-8E6C-DB2C0120E7EF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902.8714660759872</c:v>
                </c:pt>
                <c:pt idx="71">
                  <c:v>914.99619653248351</c:v>
                </c:pt>
                <c:pt idx="72">
                  <c:v>927.36362092466027</c:v>
                </c:pt>
                <c:pt idx="73">
                  <c:v>939.99127284112353</c:v>
                </c:pt>
                <c:pt idx="74">
                  <c:v>952.89848957152299</c:v>
                </c:pt>
                <c:pt idx="75">
                  <c:v>966.06676794386044</c:v>
                </c:pt>
                <c:pt idx="76">
                  <c:v>979.51310353178769</c:v>
                </c:pt>
                <c:pt idx="77">
                  <c:v>993.23636364218714</c:v>
                </c:pt>
                <c:pt idx="78">
                  <c:v>1007.2441403625763</c:v>
                </c:pt>
                <c:pt idx="79">
                  <c:v>1021.5314632643688</c:v>
                </c:pt>
                <c:pt idx="80">
                  <c:v>1036.100290633261</c:v>
                </c:pt>
                <c:pt idx="81">
                  <c:v>1050.9432607293306</c:v>
                </c:pt>
                <c:pt idx="82">
                  <c:v>1066.1517847240946</c:v>
                </c:pt>
                <c:pt idx="83">
                  <c:v>1081.7712713307853</c:v>
                </c:pt>
                <c:pt idx="84">
                  <c:v>1097.8240381786845</c:v>
                </c:pt>
                <c:pt idx="85">
                  <c:v>1114.3170268971608</c:v>
                </c:pt>
                <c:pt idx="86">
                  <c:v>1131.2548538357491</c:v>
                </c:pt>
                <c:pt idx="87">
                  <c:v>1148.6383632095947</c:v>
                </c:pt>
                <c:pt idx="88">
                  <c:v>1166.4821657382895</c:v>
                </c:pt>
                <c:pt idx="89">
                  <c:v>1184.8008900348727</c:v>
                </c:pt>
                <c:pt idx="90">
                  <c:v>1203.6055849494337</c:v>
                </c:pt>
                <c:pt idx="91">
                  <c:v>1222.9065335853934</c:v>
                </c:pt>
                <c:pt idx="92">
                  <c:v>1242.7155554158471</c:v>
                </c:pt>
                <c:pt idx="93">
                  <c:v>1263.04120862786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4</c:v>
                </c:pt>
                <c:pt idx="2">
                  <c:v>9</c:v>
                </c:pt>
                <c:pt idx="3">
                  <c:v>13</c:v>
                </c:pt>
                <c:pt idx="4">
                  <c:v>16</c:v>
                </c:pt>
                <c:pt idx="5">
                  <c:v>22</c:v>
                </c:pt>
                <c:pt idx="6">
                  <c:v>27</c:v>
                </c:pt>
                <c:pt idx="7">
                  <c:v>34</c:v>
                </c:pt>
                <c:pt idx="8">
                  <c:v>38</c:v>
                </c:pt>
                <c:pt idx="9">
                  <c:v>43</c:v>
                </c:pt>
                <c:pt idx="10">
                  <c:v>47</c:v>
                </c:pt>
                <c:pt idx="11">
                  <c:v>51</c:v>
                </c:pt>
                <c:pt idx="12">
                  <c:v>57</c:v>
                </c:pt>
                <c:pt idx="13">
                  <c:v>63</c:v>
                </c:pt>
                <c:pt idx="14">
                  <c:v>72</c:v>
                </c:pt>
                <c:pt idx="15">
                  <c:v>76</c:v>
                </c:pt>
                <c:pt idx="16">
                  <c:v>80</c:v>
                </c:pt>
                <c:pt idx="17">
                  <c:v>87</c:v>
                </c:pt>
                <c:pt idx="18">
                  <c:v>90</c:v>
                </c:pt>
                <c:pt idx="19">
                  <c:v>95</c:v>
                </c:pt>
                <c:pt idx="20">
                  <c:v>101</c:v>
                </c:pt>
                <c:pt idx="21">
                  <c:v>109</c:v>
                </c:pt>
                <c:pt idx="22">
                  <c:v>112</c:v>
                </c:pt>
                <c:pt idx="23">
                  <c:v>119</c:v>
                </c:pt>
                <c:pt idx="24">
                  <c:v>125</c:v>
                </c:pt>
                <c:pt idx="25">
                  <c:v>128</c:v>
                </c:pt>
                <c:pt idx="26">
                  <c:v>130</c:v>
                </c:pt>
                <c:pt idx="27">
                  <c:v>132</c:v>
                </c:pt>
                <c:pt idx="28">
                  <c:v>135</c:v>
                </c:pt>
                <c:pt idx="29">
                  <c:v>140</c:v>
                </c:pt>
                <c:pt idx="30">
                  <c:v>145</c:v>
                </c:pt>
                <c:pt idx="31">
                  <c:v>151</c:v>
                </c:pt>
                <c:pt idx="32">
                  <c:v>154</c:v>
                </c:pt>
                <c:pt idx="33">
                  <c:v>159</c:v>
                </c:pt>
                <c:pt idx="34">
                  <c:v>163</c:v>
                </c:pt>
                <c:pt idx="35">
                  <c:v>170</c:v>
                </c:pt>
                <c:pt idx="36">
                  <c:v>177</c:v>
                </c:pt>
                <c:pt idx="37">
                  <c:v>191</c:v>
                </c:pt>
                <c:pt idx="38">
                  <c:v>192</c:v>
                </c:pt>
                <c:pt idx="39">
                  <c:v>198</c:v>
                </c:pt>
                <c:pt idx="40">
                  <c:v>204</c:v>
                </c:pt>
                <c:pt idx="41">
                  <c:v>213</c:v>
                </c:pt>
                <c:pt idx="42">
                  <c:v>218</c:v>
                </c:pt>
                <c:pt idx="43">
                  <c:v>222</c:v>
                </c:pt>
                <c:pt idx="44">
                  <c:v>226</c:v>
                </c:pt>
                <c:pt idx="45">
                  <c:v>231</c:v>
                </c:pt>
                <c:pt idx="46">
                  <c:v>238</c:v>
                </c:pt>
                <c:pt idx="47">
                  <c:v>244</c:v>
                </c:pt>
                <c:pt idx="48">
                  <c:v>248</c:v>
                </c:pt>
                <c:pt idx="49">
                  <c:v>255</c:v>
                </c:pt>
                <c:pt idx="50">
                  <c:v>263</c:v>
                </c:pt>
                <c:pt idx="51">
                  <c:v>265</c:v>
                </c:pt>
                <c:pt idx="52">
                  <c:v>276</c:v>
                </c:pt>
                <c:pt idx="53">
                  <c:v>279</c:v>
                </c:pt>
                <c:pt idx="54">
                  <c:v>287</c:v>
                </c:pt>
                <c:pt idx="55">
                  <c:v>292</c:v>
                </c:pt>
                <c:pt idx="56">
                  <c:v>296</c:v>
                </c:pt>
                <c:pt idx="57">
                  <c:v>303</c:v>
                </c:pt>
                <c:pt idx="58">
                  <c:v>308</c:v>
                </c:pt>
                <c:pt idx="59">
                  <c:v>318</c:v>
                </c:pt>
                <c:pt idx="60">
                  <c:v>329</c:v>
                </c:pt>
                <c:pt idx="61">
                  <c:v>336</c:v>
                </c:pt>
                <c:pt idx="62">
                  <c:v>349</c:v>
                </c:pt>
                <c:pt idx="63">
                  <c:v>355</c:v>
                </c:pt>
                <c:pt idx="64">
                  <c:v>365</c:v>
                </c:pt>
                <c:pt idx="65">
                  <c:v>374</c:v>
                </c:pt>
                <c:pt idx="66">
                  <c:v>379</c:v>
                </c:pt>
                <c:pt idx="67">
                  <c:v>388</c:v>
                </c:pt>
                <c:pt idx="68">
                  <c:v>394</c:v>
                </c:pt>
                <c:pt idx="69">
                  <c:v>403</c:v>
                </c:pt>
                <c:pt idx="70">
                  <c:v>413</c:v>
                </c:pt>
                <c:pt idx="71">
                  <c:v>416</c:v>
                </c:pt>
                <c:pt idx="72">
                  <c:v>422</c:v>
                </c:pt>
                <c:pt idx="73">
                  <c:v>432</c:v>
                </c:pt>
                <c:pt idx="74">
                  <c:v>438</c:v>
                </c:pt>
                <c:pt idx="75">
                  <c:v>442</c:v>
                </c:pt>
                <c:pt idx="76">
                  <c:v>445</c:v>
                </c:pt>
                <c:pt idx="77">
                  <c:v>451</c:v>
                </c:pt>
                <c:pt idx="78">
                  <c:v>456</c:v>
                </c:pt>
                <c:pt idx="79">
                  <c:v>462</c:v>
                </c:pt>
                <c:pt idx="80">
                  <c:v>467</c:v>
                </c:pt>
                <c:pt idx="81">
                  <c:v>474</c:v>
                </c:pt>
                <c:pt idx="82">
                  <c:v>481</c:v>
                </c:pt>
                <c:pt idx="83">
                  <c:v>493</c:v>
                </c:pt>
                <c:pt idx="84">
                  <c:v>498</c:v>
                </c:pt>
                <c:pt idx="85">
                  <c:v>500</c:v>
                </c:pt>
                <c:pt idx="86">
                  <c:v>504</c:v>
                </c:pt>
                <c:pt idx="87">
                  <c:v>515</c:v>
                </c:pt>
                <c:pt idx="88">
                  <c:v>523</c:v>
                </c:pt>
                <c:pt idx="89">
                  <c:v>528</c:v>
                </c:pt>
                <c:pt idx="90">
                  <c:v>531</c:v>
                </c:pt>
                <c:pt idx="91">
                  <c:v>536</c:v>
                </c:pt>
                <c:pt idx="92">
                  <c:v>539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408.12021423497339</c:v>
                </c:pt>
                <c:pt idx="71">
                  <c:v>414.12135798957678</c:v>
                </c:pt>
                <c:pt idx="72">
                  <c:v>419.99770529964729</c:v>
                </c:pt>
                <c:pt idx="73">
                  <c:v>425.73920201681744</c:v>
                </c:pt>
                <c:pt idx="74">
                  <c:v>431.33028255970942</c:v>
                </c:pt>
                <c:pt idx="75">
                  <c:v>436.77070865473769</c:v>
                </c:pt>
                <c:pt idx="76">
                  <c:v>442.07089391005826</c:v>
                </c:pt>
                <c:pt idx="77">
                  <c:v>447.22717081332144</c:v>
                </c:pt>
                <c:pt idx="78">
                  <c:v>452.21966476931459</c:v>
                </c:pt>
                <c:pt idx="79">
                  <c:v>457.03069043908141</c:v>
                </c:pt>
                <c:pt idx="80">
                  <c:v>461.66105230595531</c:v>
                </c:pt>
                <c:pt idx="81">
                  <c:v>466.11754616775397</c:v>
                </c:pt>
                <c:pt idx="82">
                  <c:v>470.41411925816504</c:v>
                </c:pt>
                <c:pt idx="83">
                  <c:v>474.5553401378283</c:v>
                </c:pt>
                <c:pt idx="84">
                  <c:v>478.54708321211172</c:v>
                </c:pt>
                <c:pt idx="85">
                  <c:v>482.39194392819019</c:v>
                </c:pt>
                <c:pt idx="86">
                  <c:v>486.09265753623157</c:v>
                </c:pt>
                <c:pt idx="87">
                  <c:v>489.65304767468206</c:v>
                </c:pt>
                <c:pt idx="88">
                  <c:v>493.08088813777874</c:v>
                </c:pt>
                <c:pt idx="89">
                  <c:v>496.38112050025882</c:v>
                </c:pt>
                <c:pt idx="90">
                  <c:v>499.5565768900247</c:v>
                </c:pt>
                <c:pt idx="91">
                  <c:v>502.61085718659615</c:v>
                </c:pt>
                <c:pt idx="92">
                  <c:v>505.54915668261822</c:v>
                </c:pt>
                <c:pt idx="93">
                  <c:v>508.376312542025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A32-4C6F-BC4A-CA01BB65977E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408.30961834959373</c:v>
                </c:pt>
                <c:pt idx="71">
                  <c:v>414.59593915793681</c:v>
                </c:pt>
                <c:pt idx="72">
                  <c:v>420.84448405266437</c:v>
                </c:pt>
                <c:pt idx="73">
                  <c:v>427.05480304097239</c:v>
                </c:pt>
                <c:pt idx="74">
                  <c:v>433.21691966971201</c:v>
                </c:pt>
                <c:pt idx="75">
                  <c:v>439.32340298098393</c:v>
                </c:pt>
                <c:pt idx="76">
                  <c:v>445.38278304716005</c:v>
                </c:pt>
                <c:pt idx="77">
                  <c:v>451.38901403028029</c:v>
                </c:pt>
                <c:pt idx="78">
                  <c:v>457.32357365970802</c:v>
                </c:pt>
                <c:pt idx="79">
                  <c:v>463.16513762186111</c:v>
                </c:pt>
                <c:pt idx="80">
                  <c:v>468.90947305915739</c:v>
                </c:pt>
                <c:pt idx="81">
                  <c:v>474.55666820536794</c:v>
                </c:pt>
                <c:pt idx="82">
                  <c:v>480.11247050964107</c:v>
                </c:pt>
                <c:pt idx="83">
                  <c:v>485.57679924855773</c:v>
                </c:pt>
                <c:pt idx="84">
                  <c:v>490.95195939270377</c:v>
                </c:pt>
                <c:pt idx="85">
                  <c:v>496.23634216831033</c:v>
                </c:pt>
                <c:pt idx="86">
                  <c:v>501.42926036281489</c:v>
                </c:pt>
                <c:pt idx="87">
                  <c:v>506.53024551172393</c:v>
                </c:pt>
                <c:pt idx="88">
                  <c:v>511.54327528942957</c:v>
                </c:pt>
                <c:pt idx="89">
                  <c:v>516.46968483150295</c:v>
                </c:pt>
                <c:pt idx="90">
                  <c:v>521.30880899453268</c:v>
                </c:pt>
                <c:pt idx="91">
                  <c:v>526.06089151091987</c:v>
                </c:pt>
                <c:pt idx="92">
                  <c:v>530.72829626352154</c:v>
                </c:pt>
                <c:pt idx="93">
                  <c:v>535.312163891132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A32-4C6F-BC4A-CA01BB65977E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409.60654982417071</c:v>
                </c:pt>
                <c:pt idx="71">
                  <c:v>417.34469187869882</c:v>
                </c:pt>
                <c:pt idx="72">
                  <c:v>425.20590997367458</c:v>
                </c:pt>
                <c:pt idx="73">
                  <c:v>433.19554270275592</c:v>
                </c:pt>
                <c:pt idx="74">
                  <c:v>441.32118228376078</c:v>
                </c:pt>
                <c:pt idx="75">
                  <c:v>449.57287234035846</c:v>
                </c:pt>
                <c:pt idx="76">
                  <c:v>457.96072817691265</c:v>
                </c:pt>
                <c:pt idx="77">
                  <c:v>466.48086817306478</c:v>
                </c:pt>
                <c:pt idx="78">
                  <c:v>475.13115370103782</c:v>
                </c:pt>
                <c:pt idx="79">
                  <c:v>483.90524338379544</c:v>
                </c:pt>
                <c:pt idx="80">
                  <c:v>492.80308321508039</c:v>
                </c:pt>
                <c:pt idx="81">
                  <c:v>501.81937744060917</c:v>
                </c:pt>
                <c:pt idx="82">
                  <c:v>510.94954432885459</c:v>
                </c:pt>
                <c:pt idx="83">
                  <c:v>520.19747628101265</c:v>
                </c:pt>
                <c:pt idx="84">
                  <c:v>529.56883647396967</c:v>
                </c:pt>
                <c:pt idx="85">
                  <c:v>539.0638094981133</c:v>
                </c:pt>
                <c:pt idx="86">
                  <c:v>548.68068929436026</c:v>
                </c:pt>
                <c:pt idx="87">
                  <c:v>558.43307815935509</c:v>
                </c:pt>
                <c:pt idx="88">
                  <c:v>568.36438136407105</c:v>
                </c:pt>
                <c:pt idx="89">
                  <c:v>578.47865257663955</c:v>
                </c:pt>
                <c:pt idx="90">
                  <c:v>588.77782578548033</c:v>
                </c:pt>
                <c:pt idx="91">
                  <c:v>599.26368435965105</c:v>
                </c:pt>
                <c:pt idx="92">
                  <c:v>609.93917535308935</c:v>
                </c:pt>
                <c:pt idx="93">
                  <c:v>620.805585473264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A32-4C6F-BC4A-CA01BB65977E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409.67349286383535</c:v>
                </c:pt>
                <c:pt idx="71">
                  <c:v>417.51659611582988</c:v>
                </c:pt>
                <c:pt idx="72">
                  <c:v>425.52223076111352</c:v>
                </c:pt>
                <c:pt idx="73">
                  <c:v>433.70213899084342</c:v>
                </c:pt>
                <c:pt idx="74">
                  <c:v>442.06927092930039</c:v>
                </c:pt>
                <c:pt idx="75">
                  <c:v>450.61123505826731</c:v>
                </c:pt>
                <c:pt idx="76">
                  <c:v>459.33941326191712</c:v>
                </c:pt>
                <c:pt idx="77">
                  <c:v>468.25304697910133</c:v>
                </c:pt>
                <c:pt idx="78">
                  <c:v>477.35722060782405</c:v>
                </c:pt>
                <c:pt idx="79">
                  <c:v>486.64860546712299</c:v>
                </c:pt>
                <c:pt idx="80">
                  <c:v>496.12851301499478</c:v>
                </c:pt>
                <c:pt idx="81">
                  <c:v>505.79201311652167</c:v>
                </c:pt>
                <c:pt idx="82">
                  <c:v>515.69473657985702</c:v>
                </c:pt>
                <c:pt idx="83">
                  <c:v>525.86513454889155</c:v>
                </c:pt>
                <c:pt idx="84">
                  <c:v>536.31772262278753</c:v>
                </c:pt>
                <c:pt idx="85">
                  <c:v>547.05700045272715</c:v>
                </c:pt>
                <c:pt idx="86">
                  <c:v>558.08585547437269</c:v>
                </c:pt>
                <c:pt idx="87">
                  <c:v>569.40495686416943</c:v>
                </c:pt>
                <c:pt idx="88">
                  <c:v>581.02375969804029</c:v>
                </c:pt>
                <c:pt idx="89">
                  <c:v>592.95186641550481</c:v>
                </c:pt>
                <c:pt idx="90">
                  <c:v>605.19643021388413</c:v>
                </c:pt>
                <c:pt idx="91">
                  <c:v>617.7641985811423</c:v>
                </c:pt>
                <c:pt idx="92">
                  <c:v>630.66276879424902</c:v>
                </c:pt>
                <c:pt idx="93">
                  <c:v>643.897761367518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5</c:v>
                </c:pt>
                <c:pt idx="2">
                  <c:v>10</c:v>
                </c:pt>
                <c:pt idx="3">
                  <c:v>13</c:v>
                </c:pt>
                <c:pt idx="4">
                  <c:v>20</c:v>
                </c:pt>
                <c:pt idx="5">
                  <c:v>24</c:v>
                </c:pt>
                <c:pt idx="6">
                  <c:v>29</c:v>
                </c:pt>
                <c:pt idx="7">
                  <c:v>32</c:v>
                </c:pt>
                <c:pt idx="8">
                  <c:v>38</c:v>
                </c:pt>
                <c:pt idx="9">
                  <c:v>44</c:v>
                </c:pt>
                <c:pt idx="10">
                  <c:v>46</c:v>
                </c:pt>
                <c:pt idx="11">
                  <c:v>51</c:v>
                </c:pt>
                <c:pt idx="12">
                  <c:v>55</c:v>
                </c:pt>
                <c:pt idx="13">
                  <c:v>63</c:v>
                </c:pt>
                <c:pt idx="14">
                  <c:v>68</c:v>
                </c:pt>
                <c:pt idx="15">
                  <c:v>74</c:v>
                </c:pt>
                <c:pt idx="16">
                  <c:v>78</c:v>
                </c:pt>
                <c:pt idx="17">
                  <c:v>83</c:v>
                </c:pt>
                <c:pt idx="18">
                  <c:v>87</c:v>
                </c:pt>
                <c:pt idx="19">
                  <c:v>91</c:v>
                </c:pt>
                <c:pt idx="20">
                  <c:v>93</c:v>
                </c:pt>
                <c:pt idx="21">
                  <c:v>98</c:v>
                </c:pt>
                <c:pt idx="22">
                  <c:v>99</c:v>
                </c:pt>
                <c:pt idx="23">
                  <c:v>102</c:v>
                </c:pt>
                <c:pt idx="24">
                  <c:v>109</c:v>
                </c:pt>
                <c:pt idx="25">
                  <c:v>110</c:v>
                </c:pt>
                <c:pt idx="26">
                  <c:v>112</c:v>
                </c:pt>
                <c:pt idx="27">
                  <c:v>114</c:v>
                </c:pt>
                <c:pt idx="28">
                  <c:v>117</c:v>
                </c:pt>
                <c:pt idx="29">
                  <c:v>120</c:v>
                </c:pt>
                <c:pt idx="30">
                  <c:v>121</c:v>
                </c:pt>
                <c:pt idx="31">
                  <c:v>128</c:v>
                </c:pt>
                <c:pt idx="32">
                  <c:v>132</c:v>
                </c:pt>
                <c:pt idx="33">
                  <c:v>135</c:v>
                </c:pt>
                <c:pt idx="34">
                  <c:v>136</c:v>
                </c:pt>
                <c:pt idx="35">
                  <c:v>137</c:v>
                </c:pt>
                <c:pt idx="36">
                  <c:v>140</c:v>
                </c:pt>
                <c:pt idx="37">
                  <c:v>143</c:v>
                </c:pt>
                <c:pt idx="38">
                  <c:v>151</c:v>
                </c:pt>
                <c:pt idx="39">
                  <c:v>156</c:v>
                </c:pt>
                <c:pt idx="40">
                  <c:v>160</c:v>
                </c:pt>
                <c:pt idx="41">
                  <c:v>165</c:v>
                </c:pt>
                <c:pt idx="42">
                  <c:v>169</c:v>
                </c:pt>
                <c:pt idx="43">
                  <c:v>172</c:v>
                </c:pt>
                <c:pt idx="44">
                  <c:v>175</c:v>
                </c:pt>
                <c:pt idx="45">
                  <c:v>178</c:v>
                </c:pt>
                <c:pt idx="46">
                  <c:v>180</c:v>
                </c:pt>
                <c:pt idx="47">
                  <c:v>190</c:v>
                </c:pt>
                <c:pt idx="48">
                  <c:v>194</c:v>
                </c:pt>
                <c:pt idx="49">
                  <c:v>199</c:v>
                </c:pt>
                <c:pt idx="50">
                  <c:v>201</c:v>
                </c:pt>
                <c:pt idx="51">
                  <c:v>208</c:v>
                </c:pt>
                <c:pt idx="52">
                  <c:v>209</c:v>
                </c:pt>
                <c:pt idx="53">
                  <c:v>215</c:v>
                </c:pt>
                <c:pt idx="54">
                  <c:v>223</c:v>
                </c:pt>
                <c:pt idx="55">
                  <c:v>231</c:v>
                </c:pt>
                <c:pt idx="56">
                  <c:v>236</c:v>
                </c:pt>
                <c:pt idx="57">
                  <c:v>241</c:v>
                </c:pt>
                <c:pt idx="58">
                  <c:v>245</c:v>
                </c:pt>
                <c:pt idx="59">
                  <c:v>249</c:v>
                </c:pt>
                <c:pt idx="60">
                  <c:v>259</c:v>
                </c:pt>
                <c:pt idx="61">
                  <c:v>263</c:v>
                </c:pt>
                <c:pt idx="62">
                  <c:v>268</c:v>
                </c:pt>
                <c:pt idx="63">
                  <c:v>275</c:v>
                </c:pt>
                <c:pt idx="64">
                  <c:v>278</c:v>
                </c:pt>
                <c:pt idx="65">
                  <c:v>281</c:v>
                </c:pt>
                <c:pt idx="66">
                  <c:v>291</c:v>
                </c:pt>
                <c:pt idx="67">
                  <c:v>295</c:v>
                </c:pt>
                <c:pt idx="68">
                  <c:v>305</c:v>
                </c:pt>
                <c:pt idx="69">
                  <c:v>308</c:v>
                </c:pt>
                <c:pt idx="70">
                  <c:v>312</c:v>
                </c:pt>
                <c:pt idx="71">
                  <c:v>318</c:v>
                </c:pt>
                <c:pt idx="72">
                  <c:v>321</c:v>
                </c:pt>
                <c:pt idx="73">
                  <c:v>331</c:v>
                </c:pt>
                <c:pt idx="74">
                  <c:v>338</c:v>
                </c:pt>
                <c:pt idx="75">
                  <c:v>343</c:v>
                </c:pt>
                <c:pt idx="76">
                  <c:v>348</c:v>
                </c:pt>
                <c:pt idx="77">
                  <c:v>355</c:v>
                </c:pt>
                <c:pt idx="78">
                  <c:v>357</c:v>
                </c:pt>
                <c:pt idx="79">
                  <c:v>363</c:v>
                </c:pt>
                <c:pt idx="80">
                  <c:v>368</c:v>
                </c:pt>
                <c:pt idx="81">
                  <c:v>375</c:v>
                </c:pt>
                <c:pt idx="82">
                  <c:v>380</c:v>
                </c:pt>
                <c:pt idx="83">
                  <c:v>386</c:v>
                </c:pt>
                <c:pt idx="84">
                  <c:v>388</c:v>
                </c:pt>
                <c:pt idx="85">
                  <c:v>392</c:v>
                </c:pt>
                <c:pt idx="86">
                  <c:v>395</c:v>
                </c:pt>
                <c:pt idx="87">
                  <c:v>401</c:v>
                </c:pt>
                <c:pt idx="88">
                  <c:v>408</c:v>
                </c:pt>
                <c:pt idx="89">
                  <c:v>411</c:v>
                </c:pt>
                <c:pt idx="90">
                  <c:v>416</c:v>
                </c:pt>
                <c:pt idx="91">
                  <c:v>418</c:v>
                </c:pt>
                <c:pt idx="92">
                  <c:v>42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310.47119302757829</c:v>
                </c:pt>
                <c:pt idx="71">
                  <c:v>313.87474273111593</c:v>
                </c:pt>
                <c:pt idx="72">
                  <c:v>317.20731282402221</c:v>
                </c:pt>
                <c:pt idx="73">
                  <c:v>320.46366099591006</c:v>
                </c:pt>
                <c:pt idx="74">
                  <c:v>323.63500852497953</c:v>
                </c:pt>
                <c:pt idx="75">
                  <c:v>326.72098398280599</c:v>
                </c:pt>
                <c:pt idx="76">
                  <c:v>329.72731636239075</c:v>
                </c:pt>
                <c:pt idx="77">
                  <c:v>332.65200042453102</c:v>
                </c:pt>
                <c:pt idx="78">
                  <c:v>335.48393823013089</c:v>
                </c:pt>
                <c:pt idx="79">
                  <c:v>338.21293074042524</c:v>
                </c:pt>
                <c:pt idx="80">
                  <c:v>340.8393093682015</c:v>
                </c:pt>
                <c:pt idx="81">
                  <c:v>343.36695061885973</c:v>
                </c:pt>
                <c:pt idx="82">
                  <c:v>345.80386854892566</c:v>
                </c:pt>
                <c:pt idx="83">
                  <c:v>348.15266993404964</c:v>
                </c:pt>
                <c:pt idx="84">
                  <c:v>350.41669227826617</c:v>
                </c:pt>
                <c:pt idx="85">
                  <c:v>352.59739240848381</c:v>
                </c:pt>
                <c:pt idx="86">
                  <c:v>354.69636008840087</c:v>
                </c:pt>
                <c:pt idx="87">
                  <c:v>356.71572745636666</c:v>
                </c:pt>
                <c:pt idx="88">
                  <c:v>358.65992085360028</c:v>
                </c:pt>
                <c:pt idx="89">
                  <c:v>360.53172483544739</c:v>
                </c:pt>
                <c:pt idx="90">
                  <c:v>362.3327456060162</c:v>
                </c:pt>
                <c:pt idx="91">
                  <c:v>364.06502163254294</c:v>
                </c:pt>
                <c:pt idx="92">
                  <c:v>365.73152324053723</c:v>
                </c:pt>
                <c:pt idx="93">
                  <c:v>367.334996808539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1A6-48BF-9B93-48BEEFF87E4F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310.57854648736617</c:v>
                </c:pt>
                <c:pt idx="71">
                  <c:v>314.1437484475241</c:v>
                </c:pt>
                <c:pt idx="72">
                  <c:v>317.68727797315796</c:v>
                </c:pt>
                <c:pt idx="73">
                  <c:v>321.20937183443226</c:v>
                </c:pt>
                <c:pt idx="74">
                  <c:v>324.70439943906052</c:v>
                </c:pt>
                <c:pt idx="75">
                  <c:v>328.16793370896693</c:v>
                </c:pt>
                <c:pt idx="76">
                  <c:v>331.60466811354183</c:v>
                </c:pt>
                <c:pt idx="77">
                  <c:v>335.01129174630177</c:v>
                </c:pt>
                <c:pt idx="78">
                  <c:v>338.37745206441582</c:v>
                </c:pt>
                <c:pt idx="79">
                  <c:v>341.69087762982264</c:v>
                </c:pt>
                <c:pt idx="80">
                  <c:v>344.94903775049539</c:v>
                </c:pt>
                <c:pt idx="81">
                  <c:v>348.15199912272044</c:v>
                </c:pt>
                <c:pt idx="82">
                  <c:v>351.30313112636526</c:v>
                </c:pt>
                <c:pt idx="83">
                  <c:v>354.40237135650591</c:v>
                </c:pt>
                <c:pt idx="84">
                  <c:v>357.45103250378787</c:v>
                </c:pt>
                <c:pt idx="85">
                  <c:v>360.44819250373337</c:v>
                </c:pt>
                <c:pt idx="86">
                  <c:v>363.39350164998791</c:v>
                </c:pt>
                <c:pt idx="87">
                  <c:v>366.28665549955224</c:v>
                </c:pt>
                <c:pt idx="88">
                  <c:v>369.12992906806824</c:v>
                </c:pt>
                <c:pt idx="89">
                  <c:v>371.92405797239383</c:v>
                </c:pt>
                <c:pt idx="90">
                  <c:v>374.66866892873969</c:v>
                </c:pt>
                <c:pt idx="91">
                  <c:v>377.36389198529008</c:v>
                </c:pt>
                <c:pt idx="92">
                  <c:v>380.01109567633267</c:v>
                </c:pt>
                <c:pt idx="93">
                  <c:v>382.610924239822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1A6-48BF-9B93-48BEEFF87E4F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311.33636856615487</c:v>
                </c:pt>
                <c:pt idx="71">
                  <c:v>315.74597624694309</c:v>
                </c:pt>
                <c:pt idx="72">
                  <c:v>320.22408326246</c:v>
                </c:pt>
                <c:pt idx="73">
                  <c:v>324.77366086618963</c:v>
                </c:pt>
                <c:pt idx="74">
                  <c:v>329.39893459112545</c:v>
                </c:pt>
                <c:pt idx="75">
                  <c:v>334.09436310564473</c:v>
                </c:pt>
                <c:pt idx="76">
                  <c:v>338.86557619452884</c:v>
                </c:pt>
                <c:pt idx="77">
                  <c:v>343.71041349893585</c:v>
                </c:pt>
                <c:pt idx="78">
                  <c:v>348.6276847418676</c:v>
                </c:pt>
                <c:pt idx="79">
                  <c:v>353.61386055963419</c:v>
                </c:pt>
                <c:pt idx="80">
                  <c:v>358.66891089445443</c:v>
                </c:pt>
                <c:pt idx="81">
                  <c:v>363.78988833557338</c:v>
                </c:pt>
                <c:pt idx="82">
                  <c:v>368.97424286951644</c:v>
                </c:pt>
                <c:pt idx="83">
                  <c:v>374.2241408553204</c:v>
                </c:pt>
                <c:pt idx="84">
                  <c:v>379.54273419686308</c:v>
                </c:pt>
                <c:pt idx="85">
                  <c:v>384.93012562997126</c:v>
                </c:pt>
                <c:pt idx="86">
                  <c:v>390.38536562854864</c:v>
                </c:pt>
                <c:pt idx="87">
                  <c:v>395.91650779342723</c:v>
                </c:pt>
                <c:pt idx="88">
                  <c:v>401.54912840332349</c:v>
                </c:pt>
                <c:pt idx="89">
                  <c:v>407.28549850012087</c:v>
                </c:pt>
                <c:pt idx="90">
                  <c:v>413.12672804603034</c:v>
                </c:pt>
                <c:pt idx="91">
                  <c:v>419.07381099753127</c:v>
                </c:pt>
                <c:pt idx="92">
                  <c:v>425.12845475104319</c:v>
                </c:pt>
                <c:pt idx="93">
                  <c:v>431.291373985552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1A6-48BF-9B93-48BEEFF87E4F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311.37362645700898</c:v>
                </c:pt>
                <c:pt idx="71">
                  <c:v>315.8416514558441</c:v>
                </c:pt>
                <c:pt idx="72">
                  <c:v>320.40013510343283</c:v>
                </c:pt>
                <c:pt idx="73">
                  <c:v>325.05561264643745</c:v>
                </c:pt>
                <c:pt idx="74">
                  <c:v>329.81529162009099</c:v>
                </c:pt>
                <c:pt idx="75">
                  <c:v>334.67227538755776</c:v>
                </c:pt>
                <c:pt idx="76">
                  <c:v>339.63289866265353</c:v>
                </c:pt>
                <c:pt idx="77">
                  <c:v>344.69673925976161</c:v>
                </c:pt>
                <c:pt idx="78">
                  <c:v>349.86662695695679</c:v>
                </c:pt>
                <c:pt idx="79">
                  <c:v>355.14070913994772</c:v>
                </c:pt>
                <c:pt idx="80">
                  <c:v>360.51971571522131</c:v>
                </c:pt>
                <c:pt idx="81">
                  <c:v>366.00090276153372</c:v>
                </c:pt>
                <c:pt idx="82">
                  <c:v>371.61730840349486</c:v>
                </c:pt>
                <c:pt idx="83">
                  <c:v>377.38549540188075</c:v>
                </c:pt>
                <c:pt idx="84">
                  <c:v>383.31370253408664</c:v>
                </c:pt>
                <c:pt idx="85">
                  <c:v>389.40448955179238</c:v>
                </c:pt>
                <c:pt idx="86">
                  <c:v>395.65953934241634</c:v>
                </c:pt>
                <c:pt idx="87">
                  <c:v>402.07918576729315</c:v>
                </c:pt>
                <c:pt idx="88">
                  <c:v>408.66881366596624</c:v>
                </c:pt>
                <c:pt idx="89">
                  <c:v>415.43383958597968</c:v>
                </c:pt>
                <c:pt idx="90">
                  <c:v>422.37833620331094</c:v>
                </c:pt>
                <c:pt idx="91">
                  <c:v>429.50611058906946</c:v>
                </c:pt>
                <c:pt idx="92">
                  <c:v>436.82150933424919</c:v>
                </c:pt>
                <c:pt idx="93">
                  <c:v>444.327701801743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1</c:v>
                </c:pt>
                <c:pt idx="1">
                  <c:v>24</c:v>
                </c:pt>
                <c:pt idx="2">
                  <c:v>35</c:v>
                </c:pt>
                <c:pt idx="3">
                  <c:v>60</c:v>
                </c:pt>
                <c:pt idx="4">
                  <c:v>91</c:v>
                </c:pt>
                <c:pt idx="5">
                  <c:v>114</c:v>
                </c:pt>
                <c:pt idx="6">
                  <c:v>134</c:v>
                </c:pt>
                <c:pt idx="7">
                  <c:v>151</c:v>
                </c:pt>
                <c:pt idx="8">
                  <c:v>169</c:v>
                </c:pt>
                <c:pt idx="9">
                  <c:v>185</c:v>
                </c:pt>
                <c:pt idx="10">
                  <c:v>209</c:v>
                </c:pt>
                <c:pt idx="11">
                  <c:v>227</c:v>
                </c:pt>
                <c:pt idx="12">
                  <c:v>245</c:v>
                </c:pt>
                <c:pt idx="13">
                  <c:v>265</c:v>
                </c:pt>
                <c:pt idx="14">
                  <c:v>280</c:v>
                </c:pt>
                <c:pt idx="15">
                  <c:v>298</c:v>
                </c:pt>
                <c:pt idx="16">
                  <c:v>310</c:v>
                </c:pt>
                <c:pt idx="17">
                  <c:v>327</c:v>
                </c:pt>
                <c:pt idx="18">
                  <c:v>351</c:v>
                </c:pt>
                <c:pt idx="19">
                  <c:v>363</c:v>
                </c:pt>
                <c:pt idx="20">
                  <c:v>378</c:v>
                </c:pt>
                <c:pt idx="21">
                  <c:v>396</c:v>
                </c:pt>
                <c:pt idx="22">
                  <c:v>415</c:v>
                </c:pt>
                <c:pt idx="23">
                  <c:v>422</c:v>
                </c:pt>
                <c:pt idx="24">
                  <c:v>435</c:v>
                </c:pt>
                <c:pt idx="25">
                  <c:v>458</c:v>
                </c:pt>
                <c:pt idx="26">
                  <c:v>467</c:v>
                </c:pt>
                <c:pt idx="27">
                  <c:v>489</c:v>
                </c:pt>
                <c:pt idx="28">
                  <c:v>507</c:v>
                </c:pt>
                <c:pt idx="29">
                  <c:v>514</c:v>
                </c:pt>
                <c:pt idx="30">
                  <c:v>519</c:v>
                </c:pt>
                <c:pt idx="31">
                  <c:v>536</c:v>
                </c:pt>
                <c:pt idx="32">
                  <c:v>552</c:v>
                </c:pt>
                <c:pt idx="33">
                  <c:v>559</c:v>
                </c:pt>
                <c:pt idx="34">
                  <c:v>576</c:v>
                </c:pt>
                <c:pt idx="35">
                  <c:v>597</c:v>
                </c:pt>
                <c:pt idx="36">
                  <c:v>608</c:v>
                </c:pt>
                <c:pt idx="37">
                  <c:v>625</c:v>
                </c:pt>
                <c:pt idx="38">
                  <c:v>641</c:v>
                </c:pt>
                <c:pt idx="39">
                  <c:v>655</c:v>
                </c:pt>
                <c:pt idx="40">
                  <c:v>670</c:v>
                </c:pt>
                <c:pt idx="41">
                  <c:v>688</c:v>
                </c:pt>
                <c:pt idx="42">
                  <c:v>702</c:v>
                </c:pt>
                <c:pt idx="43">
                  <c:v>712</c:v>
                </c:pt>
                <c:pt idx="44">
                  <c:v>728</c:v>
                </c:pt>
                <c:pt idx="45">
                  <c:v>740</c:v>
                </c:pt>
                <c:pt idx="46">
                  <c:v>758</c:v>
                </c:pt>
                <c:pt idx="47">
                  <c:v>780</c:v>
                </c:pt>
                <c:pt idx="48">
                  <c:v>797</c:v>
                </c:pt>
                <c:pt idx="49">
                  <c:v>816</c:v>
                </c:pt>
                <c:pt idx="50">
                  <c:v>831</c:v>
                </c:pt>
                <c:pt idx="51">
                  <c:v>846</c:v>
                </c:pt>
                <c:pt idx="52">
                  <c:v>865</c:v>
                </c:pt>
                <c:pt idx="53">
                  <c:v>874</c:v>
                </c:pt>
                <c:pt idx="54">
                  <c:v>894</c:v>
                </c:pt>
                <c:pt idx="55">
                  <c:v>915</c:v>
                </c:pt>
                <c:pt idx="56">
                  <c:v>939</c:v>
                </c:pt>
                <c:pt idx="57">
                  <c:v>960</c:v>
                </c:pt>
                <c:pt idx="58">
                  <c:v>982</c:v>
                </c:pt>
                <c:pt idx="59">
                  <c:v>1005</c:v>
                </c:pt>
                <c:pt idx="60">
                  <c:v>1022</c:v>
                </c:pt>
                <c:pt idx="61">
                  <c:v>1048</c:v>
                </c:pt>
                <c:pt idx="62">
                  <c:v>1079</c:v>
                </c:pt>
                <c:pt idx="63">
                  <c:v>1107</c:v>
                </c:pt>
                <c:pt idx="64">
                  <c:v>1125</c:v>
                </c:pt>
                <c:pt idx="65">
                  <c:v>1148</c:v>
                </c:pt>
                <c:pt idx="66">
                  <c:v>1173</c:v>
                </c:pt>
                <c:pt idx="67">
                  <c:v>1199</c:v>
                </c:pt>
                <c:pt idx="68">
                  <c:v>1225</c:v>
                </c:pt>
                <c:pt idx="69">
                  <c:v>1251</c:v>
                </c:pt>
                <c:pt idx="70">
                  <c:v>1269</c:v>
                </c:pt>
                <c:pt idx="71">
                  <c:v>1286</c:v>
                </c:pt>
                <c:pt idx="72">
                  <c:v>1305</c:v>
                </c:pt>
                <c:pt idx="73">
                  <c:v>1341</c:v>
                </c:pt>
                <c:pt idx="74">
                  <c:v>1356</c:v>
                </c:pt>
                <c:pt idx="75">
                  <c:v>1378</c:v>
                </c:pt>
                <c:pt idx="76">
                  <c:v>1402</c:v>
                </c:pt>
                <c:pt idx="77">
                  <c:v>1418</c:v>
                </c:pt>
                <c:pt idx="78">
                  <c:v>1436</c:v>
                </c:pt>
                <c:pt idx="79">
                  <c:v>1453</c:v>
                </c:pt>
                <c:pt idx="80">
                  <c:v>1477</c:v>
                </c:pt>
                <c:pt idx="81">
                  <c:v>1497</c:v>
                </c:pt>
                <c:pt idx="82">
                  <c:v>1513</c:v>
                </c:pt>
                <c:pt idx="83">
                  <c:v>1544</c:v>
                </c:pt>
                <c:pt idx="84">
                  <c:v>1566</c:v>
                </c:pt>
                <c:pt idx="85">
                  <c:v>1582</c:v>
                </c:pt>
                <c:pt idx="86">
                  <c:v>1591</c:v>
                </c:pt>
                <c:pt idx="87">
                  <c:v>1608</c:v>
                </c:pt>
                <c:pt idx="88">
                  <c:v>1629</c:v>
                </c:pt>
                <c:pt idx="89">
                  <c:v>1648</c:v>
                </c:pt>
                <c:pt idx="90">
                  <c:v>1676</c:v>
                </c:pt>
                <c:pt idx="91">
                  <c:v>1689</c:v>
                </c:pt>
                <c:pt idx="92">
                  <c:v>1696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269.6570164080333</c:v>
                </c:pt>
                <c:pt idx="71">
                  <c:v>1287.9481523799741</c:v>
                </c:pt>
                <c:pt idx="72">
                  <c:v>1305.853618110785</c:v>
                </c:pt>
                <c:pt idx="73">
                  <c:v>1323.3548740204317</c:v>
                </c:pt>
                <c:pt idx="74">
                  <c:v>1340.4057747386696</c:v>
                </c:pt>
                <c:pt idx="75">
                  <c:v>1356.999374690979</c:v>
                </c:pt>
                <c:pt idx="76">
                  <c:v>1373.162752923763</c:v>
                </c:pt>
                <c:pt idx="77">
                  <c:v>1388.8866996174702</c:v>
                </c:pt>
                <c:pt idx="78">
                  <c:v>1404.1152163932989</c:v>
                </c:pt>
                <c:pt idx="79">
                  <c:v>1418.7899565673144</c:v>
                </c:pt>
                <c:pt idx="80">
                  <c:v>1432.9100860310953</c:v>
                </c:pt>
                <c:pt idx="81">
                  <c:v>1446.4969040736464</c:v>
                </c:pt>
                <c:pt idx="82">
                  <c:v>1459.5956552463085</c:v>
                </c:pt>
                <c:pt idx="83">
                  <c:v>1472.2206779018229</c:v>
                </c:pt>
                <c:pt idx="84">
                  <c:v>1484.3900304399876</c:v>
                </c:pt>
                <c:pt idx="85">
                  <c:v>1496.111224049062</c:v>
                </c:pt>
                <c:pt idx="86">
                  <c:v>1507.3936080620947</c:v>
                </c:pt>
                <c:pt idx="87">
                  <c:v>1518.2478776142484</c:v>
                </c:pt>
                <c:pt idx="88">
                  <c:v>1528.6981856100754</c:v>
                </c:pt>
                <c:pt idx="89">
                  <c:v>1538.7591183415798</c:v>
                </c:pt>
                <c:pt idx="90">
                  <c:v>1548.439306976672</c:v>
                </c:pt>
                <c:pt idx="91">
                  <c:v>1557.749639379354</c:v>
                </c:pt>
                <c:pt idx="92">
                  <c:v>1566.7065773073348</c:v>
                </c:pt>
                <c:pt idx="93">
                  <c:v>1575.3249425943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BFC-4864-9A26-E6330A9DAD68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270.2325425617319</c:v>
                </c:pt>
                <c:pt idx="71">
                  <c:v>1289.3906190868104</c:v>
                </c:pt>
                <c:pt idx="72">
                  <c:v>1308.4270340995542</c:v>
                </c:pt>
                <c:pt idx="73">
                  <c:v>1327.3533653448526</c:v>
                </c:pt>
                <c:pt idx="74">
                  <c:v>1346.1399304345405</c:v>
                </c:pt>
                <c:pt idx="75">
                  <c:v>1364.7584842488072</c:v>
                </c:pt>
                <c:pt idx="76">
                  <c:v>1383.2312262424437</c:v>
                </c:pt>
                <c:pt idx="77">
                  <c:v>1401.5428346604235</c:v>
                </c:pt>
                <c:pt idx="78">
                  <c:v>1419.6408650677463</c:v>
                </c:pt>
                <c:pt idx="79">
                  <c:v>1437.455654246191</c:v>
                </c:pt>
                <c:pt idx="80">
                  <c:v>1454.9708783293877</c:v>
                </c:pt>
                <c:pt idx="81">
                  <c:v>1472.187244604555</c:v>
                </c:pt>
                <c:pt idx="82">
                  <c:v>1489.1251586741328</c:v>
                </c:pt>
                <c:pt idx="83">
                  <c:v>1505.7839369807232</c:v>
                </c:pt>
                <c:pt idx="84">
                  <c:v>1522.1707477605114</c:v>
                </c:pt>
                <c:pt idx="85">
                  <c:v>1538.2804336197212</c:v>
                </c:pt>
                <c:pt idx="86">
                  <c:v>1554.1119540183008</c:v>
                </c:pt>
                <c:pt idx="87">
                  <c:v>1569.6628610948387</c:v>
                </c:pt>
                <c:pt idx="88">
                  <c:v>1584.9457806847486</c:v>
                </c:pt>
                <c:pt idx="89">
                  <c:v>1599.9642135337499</c:v>
                </c:pt>
                <c:pt idx="90">
                  <c:v>1614.7162363532725</c:v>
                </c:pt>
                <c:pt idx="91">
                  <c:v>1629.202376599676</c:v>
                </c:pt>
                <c:pt idx="92">
                  <c:v>1643.4305724814569</c:v>
                </c:pt>
                <c:pt idx="93">
                  <c:v>1657.40423017754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BFC-4864-9A26-E6330A9DAD68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274.7715989575531</c:v>
                </c:pt>
                <c:pt idx="71">
                  <c:v>1298.9076071684037</c:v>
                </c:pt>
                <c:pt idx="72">
                  <c:v>1323.384441337417</c:v>
                </c:pt>
                <c:pt idx="73">
                  <c:v>1348.216885262415</c:v>
                </c:pt>
                <c:pt idx="74">
                  <c:v>1373.4259635465855</c:v>
                </c:pt>
                <c:pt idx="75">
                  <c:v>1398.9841046862443</c:v>
                </c:pt>
                <c:pt idx="76">
                  <c:v>1424.9193202934748</c:v>
                </c:pt>
                <c:pt idx="77">
                  <c:v>1451.2208612657455</c:v>
                </c:pt>
                <c:pt idx="78">
                  <c:v>1477.8828052492129</c:v>
                </c:pt>
                <c:pt idx="79">
                  <c:v>1504.8875915074684</c:v>
                </c:pt>
                <c:pt idx="80">
                  <c:v>1532.2350704847224</c:v>
                </c:pt>
                <c:pt idx="81">
                  <c:v>1559.9105770152673</c:v>
                </c:pt>
                <c:pt idx="82">
                  <c:v>1587.9014232271811</c:v>
                </c:pt>
                <c:pt idx="83">
                  <c:v>1616.2183880776224</c:v>
                </c:pt>
                <c:pt idx="84">
                  <c:v>1644.8771542102759</c:v>
                </c:pt>
                <c:pt idx="85">
                  <c:v>1673.8782327985234</c:v>
                </c:pt>
                <c:pt idx="86">
                  <c:v>1703.216899371057</c:v>
                </c:pt>
                <c:pt idx="87">
                  <c:v>1732.9435370850815</c:v>
                </c:pt>
                <c:pt idx="88">
                  <c:v>1763.2156833725915</c:v>
                </c:pt>
                <c:pt idx="89">
                  <c:v>1794.0449566883476</c:v>
                </c:pt>
                <c:pt idx="90">
                  <c:v>1825.4375965250197</c:v>
                </c:pt>
                <c:pt idx="91">
                  <c:v>1857.3985783619005</c:v>
                </c:pt>
                <c:pt idx="92">
                  <c:v>1889.9378315113399</c:v>
                </c:pt>
                <c:pt idx="93">
                  <c:v>1923.05888093735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BFC-4864-9A26-E6330A9DAD68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1274.9569796827784</c:v>
                </c:pt>
                <c:pt idx="71">
                  <c:v>1299.3836496712283</c:v>
                </c:pt>
                <c:pt idx="72">
                  <c:v>1324.2604065949402</c:v>
                </c:pt>
                <c:pt idx="73">
                  <c:v>1349.619767290965</c:v>
                </c:pt>
                <c:pt idx="74">
                  <c:v>1375.4975936419262</c:v>
                </c:pt>
                <c:pt idx="75">
                  <c:v>1401.8595706742994</c:v>
                </c:pt>
                <c:pt idx="76">
                  <c:v>1428.7372174519487</c:v>
                </c:pt>
                <c:pt idx="77">
                  <c:v>1456.1284333440008</c:v>
                </c:pt>
                <c:pt idx="78">
                  <c:v>1484.0472982218519</c:v>
                </c:pt>
                <c:pt idx="79">
                  <c:v>1512.4845941997601</c:v>
                </c:pt>
                <c:pt idx="80">
                  <c:v>1541.4439530075624</c:v>
                </c:pt>
                <c:pt idx="81">
                  <c:v>1570.9117219639479</c:v>
                </c:pt>
                <c:pt idx="82">
                  <c:v>1601.096601924723</c:v>
                </c:pt>
                <c:pt idx="83">
                  <c:v>1632.0965410369868</c:v>
                </c:pt>
                <c:pt idx="84">
                  <c:v>1663.9559465787459</c:v>
                </c:pt>
                <c:pt idx="85">
                  <c:v>1696.688737833721</c:v>
                </c:pt>
                <c:pt idx="86">
                  <c:v>1730.3049072751478</c:v>
                </c:pt>
                <c:pt idx="87">
                  <c:v>1764.8052926580554</c:v>
                </c:pt>
                <c:pt idx="88">
                  <c:v>1800.219301862646</c:v>
                </c:pt>
                <c:pt idx="89">
                  <c:v>1836.5754266948702</c:v>
                </c:pt>
                <c:pt idx="90">
                  <c:v>1873.895883939691</c:v>
                </c:pt>
                <c:pt idx="91">
                  <c:v>1912.2007192456158</c:v>
                </c:pt>
                <c:pt idx="92">
                  <c:v>1951.5140834313447</c:v>
                </c:pt>
                <c:pt idx="93">
                  <c:v>1991.85262549406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9</c:v>
                </c:pt>
                <c:pt idx="1">
                  <c:v>14</c:v>
                </c:pt>
                <c:pt idx="2">
                  <c:v>23</c:v>
                </c:pt>
                <c:pt idx="3">
                  <c:v>34</c:v>
                </c:pt>
                <c:pt idx="4">
                  <c:v>42</c:v>
                </c:pt>
                <c:pt idx="5">
                  <c:v>55</c:v>
                </c:pt>
                <c:pt idx="6">
                  <c:v>64</c:v>
                </c:pt>
                <c:pt idx="7">
                  <c:v>73</c:v>
                </c:pt>
                <c:pt idx="8">
                  <c:v>82</c:v>
                </c:pt>
                <c:pt idx="9">
                  <c:v>87</c:v>
                </c:pt>
                <c:pt idx="10">
                  <c:v>95</c:v>
                </c:pt>
                <c:pt idx="11">
                  <c:v>107</c:v>
                </c:pt>
                <c:pt idx="12">
                  <c:v>117</c:v>
                </c:pt>
                <c:pt idx="13">
                  <c:v>124</c:v>
                </c:pt>
                <c:pt idx="14">
                  <c:v>128</c:v>
                </c:pt>
                <c:pt idx="15">
                  <c:v>136</c:v>
                </c:pt>
                <c:pt idx="16">
                  <c:v>143</c:v>
                </c:pt>
                <c:pt idx="17">
                  <c:v>149</c:v>
                </c:pt>
                <c:pt idx="18">
                  <c:v>160</c:v>
                </c:pt>
                <c:pt idx="19">
                  <c:v>173</c:v>
                </c:pt>
                <c:pt idx="20">
                  <c:v>181</c:v>
                </c:pt>
                <c:pt idx="21">
                  <c:v>188</c:v>
                </c:pt>
                <c:pt idx="22">
                  <c:v>191</c:v>
                </c:pt>
                <c:pt idx="23">
                  <c:v>193</c:v>
                </c:pt>
                <c:pt idx="24">
                  <c:v>198</c:v>
                </c:pt>
                <c:pt idx="25">
                  <c:v>201</c:v>
                </c:pt>
                <c:pt idx="26">
                  <c:v>209</c:v>
                </c:pt>
                <c:pt idx="27">
                  <c:v>219</c:v>
                </c:pt>
                <c:pt idx="28">
                  <c:v>225</c:v>
                </c:pt>
                <c:pt idx="29">
                  <c:v>233</c:v>
                </c:pt>
                <c:pt idx="30">
                  <c:v>242</c:v>
                </c:pt>
                <c:pt idx="31">
                  <c:v>246</c:v>
                </c:pt>
                <c:pt idx="32">
                  <c:v>249</c:v>
                </c:pt>
                <c:pt idx="33">
                  <c:v>251</c:v>
                </c:pt>
                <c:pt idx="34">
                  <c:v>256</c:v>
                </c:pt>
                <c:pt idx="35">
                  <c:v>261</c:v>
                </c:pt>
                <c:pt idx="36">
                  <c:v>266</c:v>
                </c:pt>
                <c:pt idx="37">
                  <c:v>272</c:v>
                </c:pt>
                <c:pt idx="38">
                  <c:v>275</c:v>
                </c:pt>
                <c:pt idx="39">
                  <c:v>279</c:v>
                </c:pt>
                <c:pt idx="40">
                  <c:v>288</c:v>
                </c:pt>
                <c:pt idx="41">
                  <c:v>293</c:v>
                </c:pt>
                <c:pt idx="42">
                  <c:v>296</c:v>
                </c:pt>
                <c:pt idx="43">
                  <c:v>301</c:v>
                </c:pt>
                <c:pt idx="44">
                  <c:v>302</c:v>
                </c:pt>
                <c:pt idx="45">
                  <c:v>308</c:v>
                </c:pt>
                <c:pt idx="46">
                  <c:v>314</c:v>
                </c:pt>
                <c:pt idx="47">
                  <c:v>321</c:v>
                </c:pt>
                <c:pt idx="48">
                  <c:v>327</c:v>
                </c:pt>
                <c:pt idx="49">
                  <c:v>340</c:v>
                </c:pt>
                <c:pt idx="50">
                  <c:v>348</c:v>
                </c:pt>
                <c:pt idx="51">
                  <c:v>351</c:v>
                </c:pt>
                <c:pt idx="52">
                  <c:v>364</c:v>
                </c:pt>
                <c:pt idx="53">
                  <c:v>371</c:v>
                </c:pt>
                <c:pt idx="54">
                  <c:v>376</c:v>
                </c:pt>
                <c:pt idx="55">
                  <c:v>381</c:v>
                </c:pt>
                <c:pt idx="56">
                  <c:v>386</c:v>
                </c:pt>
                <c:pt idx="57">
                  <c:v>392</c:v>
                </c:pt>
                <c:pt idx="58">
                  <c:v>399</c:v>
                </c:pt>
                <c:pt idx="59">
                  <c:v>416</c:v>
                </c:pt>
                <c:pt idx="60">
                  <c:v>423</c:v>
                </c:pt>
                <c:pt idx="61">
                  <c:v>432</c:v>
                </c:pt>
                <c:pt idx="62">
                  <c:v>446</c:v>
                </c:pt>
                <c:pt idx="63">
                  <c:v>457</c:v>
                </c:pt>
                <c:pt idx="64">
                  <c:v>465</c:v>
                </c:pt>
                <c:pt idx="65">
                  <c:v>474</c:v>
                </c:pt>
                <c:pt idx="66">
                  <c:v>485</c:v>
                </c:pt>
                <c:pt idx="67">
                  <c:v>497</c:v>
                </c:pt>
                <c:pt idx="68">
                  <c:v>511</c:v>
                </c:pt>
                <c:pt idx="69">
                  <c:v>520</c:v>
                </c:pt>
                <c:pt idx="70">
                  <c:v>528</c:v>
                </c:pt>
                <c:pt idx="71">
                  <c:v>540</c:v>
                </c:pt>
                <c:pt idx="72">
                  <c:v>551</c:v>
                </c:pt>
                <c:pt idx="73">
                  <c:v>563</c:v>
                </c:pt>
                <c:pt idx="74">
                  <c:v>575</c:v>
                </c:pt>
                <c:pt idx="75">
                  <c:v>584</c:v>
                </c:pt>
                <c:pt idx="76">
                  <c:v>593</c:v>
                </c:pt>
                <c:pt idx="77">
                  <c:v>607</c:v>
                </c:pt>
                <c:pt idx="78">
                  <c:v>620</c:v>
                </c:pt>
                <c:pt idx="79">
                  <c:v>625</c:v>
                </c:pt>
                <c:pt idx="80">
                  <c:v>637</c:v>
                </c:pt>
                <c:pt idx="81">
                  <c:v>648</c:v>
                </c:pt>
                <c:pt idx="82">
                  <c:v>660</c:v>
                </c:pt>
                <c:pt idx="83">
                  <c:v>666</c:v>
                </c:pt>
                <c:pt idx="84">
                  <c:v>676</c:v>
                </c:pt>
                <c:pt idx="85">
                  <c:v>682</c:v>
                </c:pt>
                <c:pt idx="86">
                  <c:v>687</c:v>
                </c:pt>
                <c:pt idx="87">
                  <c:v>694</c:v>
                </c:pt>
                <c:pt idx="88">
                  <c:v>700</c:v>
                </c:pt>
                <c:pt idx="89">
                  <c:v>711</c:v>
                </c:pt>
                <c:pt idx="90">
                  <c:v>717</c:v>
                </c:pt>
                <c:pt idx="91">
                  <c:v>722</c:v>
                </c:pt>
                <c:pt idx="92">
                  <c:v>727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527.53039048929929</c:v>
                </c:pt>
                <c:pt idx="71">
                  <c:v>534.91305557939108</c:v>
                </c:pt>
                <c:pt idx="72">
                  <c:v>542.13996918297414</c:v>
                </c:pt>
                <c:pt idx="73">
                  <c:v>549.20384789458967</c:v>
                </c:pt>
                <c:pt idx="74">
                  <c:v>556.08608791783695</c:v>
                </c:pt>
                <c:pt idx="75">
                  <c:v>562.78378336181652</c:v>
                </c:pt>
                <c:pt idx="76">
                  <c:v>569.30778703425608</c:v>
                </c:pt>
                <c:pt idx="77">
                  <c:v>575.6544141188499</c:v>
                </c:pt>
                <c:pt idx="78">
                  <c:v>581.80113802719711</c:v>
                </c:pt>
                <c:pt idx="79">
                  <c:v>587.72433564588994</c:v>
                </c:pt>
                <c:pt idx="80">
                  <c:v>593.42361614378137</c:v>
                </c:pt>
                <c:pt idx="81">
                  <c:v>598.90758599732044</c:v>
                </c:pt>
                <c:pt idx="82">
                  <c:v>604.19455187482959</c:v>
                </c:pt>
                <c:pt idx="83">
                  <c:v>609.2903078382667</c:v>
                </c:pt>
                <c:pt idx="84">
                  <c:v>614.20214514698625</c:v>
                </c:pt>
                <c:pt idx="85">
                  <c:v>618.93308887875185</c:v>
                </c:pt>
                <c:pt idx="86">
                  <c:v>623.48692929893718</c:v>
                </c:pt>
                <c:pt idx="87">
                  <c:v>627.86796736646897</c:v>
                </c:pt>
                <c:pt idx="88">
                  <c:v>632.08595923584323</c:v>
                </c:pt>
                <c:pt idx="89">
                  <c:v>636.1467843881918</c:v>
                </c:pt>
                <c:pt idx="90">
                  <c:v>640.05392651762838</c:v>
                </c:pt>
                <c:pt idx="91">
                  <c:v>643.81177879134248</c:v>
                </c:pt>
                <c:pt idx="92">
                  <c:v>647.42699583339754</c:v>
                </c:pt>
                <c:pt idx="93">
                  <c:v>650.905561322742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27A-46DE-ACB9-C823BE3CB303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527.76265513489193</c:v>
                </c:pt>
                <c:pt idx="71">
                  <c:v>535.49519732441672</c:v>
                </c:pt>
                <c:pt idx="72">
                  <c:v>543.1785269950941</c:v>
                </c:pt>
                <c:pt idx="73">
                  <c:v>550.81753061025483</c:v>
                </c:pt>
                <c:pt idx="74">
                  <c:v>558.40023972475205</c:v>
                </c:pt>
                <c:pt idx="75">
                  <c:v>565.91516180402698</c:v>
                </c:pt>
                <c:pt idx="76">
                  <c:v>573.37119435380737</c:v>
                </c:pt>
                <c:pt idx="77">
                  <c:v>580.76220440277632</c:v>
                </c:pt>
                <c:pt idx="78">
                  <c:v>588.06709044406955</c:v>
                </c:pt>
                <c:pt idx="79">
                  <c:v>595.25765807529626</c:v>
                </c:pt>
                <c:pt idx="80">
                  <c:v>602.32726224620069</c:v>
                </c:pt>
                <c:pt idx="81">
                  <c:v>609.27619565777536</c:v>
                </c:pt>
                <c:pt idx="82">
                  <c:v>616.11274201670062</c:v>
                </c:pt>
                <c:pt idx="83">
                  <c:v>622.83661821363512</c:v>
                </c:pt>
                <c:pt idx="84">
                  <c:v>629.45071984505762</c:v>
                </c:pt>
                <c:pt idx="85">
                  <c:v>635.95296109856918</c:v>
                </c:pt>
                <c:pt idx="86">
                  <c:v>642.34293936641473</c:v>
                </c:pt>
                <c:pt idx="87">
                  <c:v>648.61964982939162</c:v>
                </c:pt>
                <c:pt idx="88">
                  <c:v>654.7881968018437</c:v>
                </c:pt>
                <c:pt idx="89">
                  <c:v>660.84998388020472</c:v>
                </c:pt>
                <c:pt idx="90">
                  <c:v>666.80423650190392</c:v>
                </c:pt>
                <c:pt idx="91">
                  <c:v>672.65116400770978</c:v>
                </c:pt>
                <c:pt idx="92">
                  <c:v>678.39398250251679</c:v>
                </c:pt>
                <c:pt idx="93">
                  <c:v>684.034065626837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27A-46DE-ACB9-C823BE3CB303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529.60436929408149</c:v>
                </c:pt>
                <c:pt idx="71">
                  <c:v>539.35521681742978</c:v>
                </c:pt>
                <c:pt idx="72">
                  <c:v>549.24306301023546</c:v>
                </c:pt>
                <c:pt idx="73">
                  <c:v>559.27385037946635</c:v>
                </c:pt>
                <c:pt idx="74">
                  <c:v>569.45602999110986</c:v>
                </c:pt>
                <c:pt idx="75">
                  <c:v>579.77851918192016</c:v>
                </c:pt>
                <c:pt idx="76">
                  <c:v>590.25257752146024</c:v>
                </c:pt>
                <c:pt idx="77">
                  <c:v>600.87388429204589</c:v>
                </c:pt>
                <c:pt idx="78">
                  <c:v>611.64005893968124</c:v>
                </c:pt>
                <c:pt idx="79">
                  <c:v>622.54404273698628</c:v>
                </c:pt>
                <c:pt idx="80">
                  <c:v>633.5857755683985</c:v>
                </c:pt>
                <c:pt idx="81">
                  <c:v>644.75936261240815</c:v>
                </c:pt>
                <c:pt idx="82">
                  <c:v>656.05970384206603</c:v>
                </c:pt>
                <c:pt idx="83">
                  <c:v>667.4911319754458</c:v>
                </c:pt>
                <c:pt idx="84">
                  <c:v>679.05995082030302</c:v>
                </c:pt>
                <c:pt idx="85">
                  <c:v>690.76636584829112</c:v>
                </c:pt>
                <c:pt idx="86">
                  <c:v>702.60847800721763</c:v>
                </c:pt>
                <c:pt idx="87">
                  <c:v>714.60677004368824</c:v>
                </c:pt>
                <c:pt idx="88">
                  <c:v>726.82524325557097</c:v>
                </c:pt>
                <c:pt idx="89">
                  <c:v>739.26857493466946</c:v>
                </c:pt>
                <c:pt idx="90">
                  <c:v>751.9392891477421</c:v>
                </c:pt>
                <c:pt idx="91">
                  <c:v>764.83938651216681</c:v>
                </c:pt>
                <c:pt idx="92">
                  <c:v>777.97289030333877</c:v>
                </c:pt>
                <c:pt idx="93">
                  <c:v>791.341216725026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27A-46DE-ACB9-C823BE3CB303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529.67888507578971</c:v>
                </c:pt>
                <c:pt idx="71">
                  <c:v>539.54656723523169</c:v>
                </c:pt>
                <c:pt idx="72">
                  <c:v>549.59516669218101</c:v>
                </c:pt>
                <c:pt idx="73">
                  <c:v>559.837753939962</c:v>
                </c:pt>
                <c:pt idx="74">
                  <c:v>570.28874404904082</c:v>
                </c:pt>
                <c:pt idx="75">
                  <c:v>580.93434374574622</c:v>
                </c:pt>
                <c:pt idx="76">
                  <c:v>591.7872224577095</c:v>
                </c:pt>
                <c:pt idx="77">
                  <c:v>602.84653581369753</c:v>
                </c:pt>
                <c:pt idx="78">
                  <c:v>614.11794336985963</c:v>
                </c:pt>
                <c:pt idx="79">
                  <c:v>625.59773989761322</c:v>
                </c:pt>
                <c:pt idx="80">
                  <c:v>637.28738520993227</c:v>
                </c:pt>
                <c:pt idx="81">
                  <c:v>649.18139146432884</c:v>
                </c:pt>
                <c:pt idx="82">
                  <c:v>661.36463966969245</c:v>
                </c:pt>
                <c:pt idx="83">
                  <c:v>673.87684876695732</c:v>
                </c:pt>
                <c:pt idx="84">
                  <c:v>686.73594512679119</c:v>
                </c:pt>
                <c:pt idx="85">
                  <c:v>699.94755022082518</c:v>
                </c:pt>
                <c:pt idx="86">
                  <c:v>713.51571685393708</c:v>
                </c:pt>
                <c:pt idx="87">
                  <c:v>727.44076334929673</c:v>
                </c:pt>
                <c:pt idx="88">
                  <c:v>741.73456902535747</c:v>
                </c:pt>
                <c:pt idx="89">
                  <c:v>756.40862095041894</c:v>
                </c:pt>
                <c:pt idx="90">
                  <c:v>771.47189308793179</c:v>
                </c:pt>
                <c:pt idx="91">
                  <c:v>786.93246768239442</c:v>
                </c:pt>
                <c:pt idx="92">
                  <c:v>802.80010888064726</c:v>
                </c:pt>
                <c:pt idx="93">
                  <c:v>819.081528602691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9</c:v>
                </c:pt>
                <c:pt idx="2">
                  <c:v>13</c:v>
                </c:pt>
                <c:pt idx="3">
                  <c:v>24</c:v>
                </c:pt>
                <c:pt idx="4">
                  <c:v>31</c:v>
                </c:pt>
                <c:pt idx="5">
                  <c:v>40</c:v>
                </c:pt>
                <c:pt idx="6">
                  <c:v>50</c:v>
                </c:pt>
                <c:pt idx="7">
                  <c:v>55</c:v>
                </c:pt>
                <c:pt idx="8">
                  <c:v>59</c:v>
                </c:pt>
                <c:pt idx="9">
                  <c:v>63</c:v>
                </c:pt>
                <c:pt idx="10">
                  <c:v>76</c:v>
                </c:pt>
                <c:pt idx="11">
                  <c:v>77</c:v>
                </c:pt>
                <c:pt idx="12">
                  <c:v>78</c:v>
                </c:pt>
                <c:pt idx="13">
                  <c:v>96</c:v>
                </c:pt>
                <c:pt idx="14">
                  <c:v>103</c:v>
                </c:pt>
                <c:pt idx="15">
                  <c:v>109</c:v>
                </c:pt>
                <c:pt idx="16">
                  <c:v>111</c:v>
                </c:pt>
                <c:pt idx="17">
                  <c:v>120</c:v>
                </c:pt>
                <c:pt idx="18">
                  <c:v>130</c:v>
                </c:pt>
                <c:pt idx="19">
                  <c:v>133</c:v>
                </c:pt>
                <c:pt idx="20">
                  <c:v>138</c:v>
                </c:pt>
                <c:pt idx="21">
                  <c:v>140</c:v>
                </c:pt>
                <c:pt idx="22">
                  <c:v>144</c:v>
                </c:pt>
                <c:pt idx="23">
                  <c:v>151</c:v>
                </c:pt>
                <c:pt idx="24">
                  <c:v>157</c:v>
                </c:pt>
                <c:pt idx="25">
                  <c:v>162</c:v>
                </c:pt>
                <c:pt idx="26">
                  <c:v>170</c:v>
                </c:pt>
                <c:pt idx="27">
                  <c:v>173</c:v>
                </c:pt>
                <c:pt idx="28">
                  <c:v>179</c:v>
                </c:pt>
                <c:pt idx="29">
                  <c:v>185</c:v>
                </c:pt>
                <c:pt idx="30">
                  <c:v>185</c:v>
                </c:pt>
                <c:pt idx="31">
                  <c:v>187</c:v>
                </c:pt>
                <c:pt idx="32">
                  <c:v>193</c:v>
                </c:pt>
                <c:pt idx="33">
                  <c:v>194</c:v>
                </c:pt>
                <c:pt idx="34">
                  <c:v>197</c:v>
                </c:pt>
                <c:pt idx="35">
                  <c:v>199</c:v>
                </c:pt>
                <c:pt idx="36">
                  <c:v>204</c:v>
                </c:pt>
                <c:pt idx="37">
                  <c:v>210</c:v>
                </c:pt>
                <c:pt idx="38">
                  <c:v>214</c:v>
                </c:pt>
                <c:pt idx="39">
                  <c:v>216</c:v>
                </c:pt>
                <c:pt idx="40">
                  <c:v>227</c:v>
                </c:pt>
                <c:pt idx="41">
                  <c:v>233</c:v>
                </c:pt>
                <c:pt idx="42">
                  <c:v>233</c:v>
                </c:pt>
                <c:pt idx="43">
                  <c:v>239</c:v>
                </c:pt>
                <c:pt idx="44">
                  <c:v>242</c:v>
                </c:pt>
                <c:pt idx="45">
                  <c:v>248</c:v>
                </c:pt>
                <c:pt idx="46">
                  <c:v>253</c:v>
                </c:pt>
                <c:pt idx="47">
                  <c:v>261</c:v>
                </c:pt>
                <c:pt idx="48">
                  <c:v>262</c:v>
                </c:pt>
                <c:pt idx="49">
                  <c:v>267</c:v>
                </c:pt>
                <c:pt idx="50">
                  <c:v>271</c:v>
                </c:pt>
                <c:pt idx="51">
                  <c:v>273</c:v>
                </c:pt>
                <c:pt idx="52">
                  <c:v>277</c:v>
                </c:pt>
                <c:pt idx="53">
                  <c:v>280</c:v>
                </c:pt>
                <c:pt idx="54">
                  <c:v>289</c:v>
                </c:pt>
                <c:pt idx="55">
                  <c:v>297</c:v>
                </c:pt>
                <c:pt idx="56">
                  <c:v>301</c:v>
                </c:pt>
                <c:pt idx="57">
                  <c:v>310</c:v>
                </c:pt>
                <c:pt idx="58">
                  <c:v>315</c:v>
                </c:pt>
                <c:pt idx="59">
                  <c:v>321</c:v>
                </c:pt>
                <c:pt idx="60">
                  <c:v>327</c:v>
                </c:pt>
                <c:pt idx="61">
                  <c:v>337</c:v>
                </c:pt>
                <c:pt idx="62">
                  <c:v>344</c:v>
                </c:pt>
                <c:pt idx="63">
                  <c:v>349</c:v>
                </c:pt>
                <c:pt idx="64">
                  <c:v>355</c:v>
                </c:pt>
                <c:pt idx="65">
                  <c:v>361</c:v>
                </c:pt>
                <c:pt idx="66">
                  <c:v>367</c:v>
                </c:pt>
                <c:pt idx="67">
                  <c:v>375</c:v>
                </c:pt>
                <c:pt idx="68">
                  <c:v>380</c:v>
                </c:pt>
                <c:pt idx="69">
                  <c:v>388</c:v>
                </c:pt>
                <c:pt idx="70">
                  <c:v>397</c:v>
                </c:pt>
                <c:pt idx="71">
                  <c:v>403</c:v>
                </c:pt>
                <c:pt idx="72">
                  <c:v>407</c:v>
                </c:pt>
                <c:pt idx="73">
                  <c:v>412</c:v>
                </c:pt>
                <c:pt idx="74">
                  <c:v>418</c:v>
                </c:pt>
                <c:pt idx="75">
                  <c:v>426</c:v>
                </c:pt>
                <c:pt idx="76">
                  <c:v>431</c:v>
                </c:pt>
                <c:pt idx="77">
                  <c:v>435</c:v>
                </c:pt>
                <c:pt idx="78">
                  <c:v>441</c:v>
                </c:pt>
                <c:pt idx="79">
                  <c:v>446</c:v>
                </c:pt>
                <c:pt idx="80">
                  <c:v>455</c:v>
                </c:pt>
                <c:pt idx="81">
                  <c:v>462</c:v>
                </c:pt>
                <c:pt idx="82">
                  <c:v>473</c:v>
                </c:pt>
                <c:pt idx="83">
                  <c:v>477</c:v>
                </c:pt>
                <c:pt idx="84">
                  <c:v>484</c:v>
                </c:pt>
                <c:pt idx="85">
                  <c:v>489</c:v>
                </c:pt>
                <c:pt idx="86">
                  <c:v>496</c:v>
                </c:pt>
                <c:pt idx="87">
                  <c:v>504</c:v>
                </c:pt>
                <c:pt idx="88">
                  <c:v>508</c:v>
                </c:pt>
                <c:pt idx="89">
                  <c:v>511</c:v>
                </c:pt>
                <c:pt idx="90">
                  <c:v>514</c:v>
                </c:pt>
                <c:pt idx="91">
                  <c:v>519</c:v>
                </c:pt>
                <c:pt idx="92">
                  <c:v>52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392.71436263643926</c:v>
                </c:pt>
                <c:pt idx="71">
                  <c:v>398.31734633621636</c:v>
                </c:pt>
                <c:pt idx="72">
                  <c:v>403.80344044920821</c:v>
                </c:pt>
                <c:pt idx="73">
                  <c:v>409.16411026093579</c:v>
                </c:pt>
                <c:pt idx="74">
                  <c:v>414.38491429702265</c:v>
                </c:pt>
                <c:pt idx="75">
                  <c:v>419.46519215714852</c:v>
                </c:pt>
                <c:pt idx="76">
                  <c:v>424.41433832701966</c:v>
                </c:pt>
                <c:pt idx="77">
                  <c:v>429.22906723952838</c:v>
                </c:pt>
                <c:pt idx="78">
                  <c:v>433.89114530334678</c:v>
                </c:pt>
                <c:pt idx="79">
                  <c:v>438.38374771413828</c:v>
                </c:pt>
                <c:pt idx="80">
                  <c:v>442.70739418654085</c:v>
                </c:pt>
                <c:pt idx="81">
                  <c:v>446.86847090504494</c:v>
                </c:pt>
                <c:pt idx="82">
                  <c:v>450.8801922702736</c:v>
                </c:pt>
                <c:pt idx="83">
                  <c:v>454.74685285793362</c:v>
                </c:pt>
                <c:pt idx="84">
                  <c:v>458.47394813470783</c:v>
                </c:pt>
                <c:pt idx="85">
                  <c:v>462.0638732099527</c:v>
                </c:pt>
                <c:pt idx="86">
                  <c:v>465.51925314910915</c:v>
                </c:pt>
                <c:pt idx="87">
                  <c:v>468.84359036764317</c:v>
                </c:pt>
                <c:pt idx="88">
                  <c:v>472.04417519790815</c:v>
                </c:pt>
                <c:pt idx="89">
                  <c:v>475.125587883062</c:v>
                </c:pt>
                <c:pt idx="90">
                  <c:v>478.09047257689417</c:v>
                </c:pt>
                <c:pt idx="91">
                  <c:v>480.94218437627865</c:v>
                </c:pt>
                <c:pt idx="92">
                  <c:v>483.68561801679004</c:v>
                </c:pt>
                <c:pt idx="93">
                  <c:v>486.325295252693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790-44C1-9DF6-E8F421A89F3A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392.8910758968056</c:v>
                </c:pt>
                <c:pt idx="71">
                  <c:v>398.7601565932037</c:v>
                </c:pt>
                <c:pt idx="72">
                  <c:v>404.59350840854529</c:v>
                </c:pt>
                <c:pt idx="73">
                  <c:v>410.39162303350111</c:v>
                </c:pt>
                <c:pt idx="74">
                  <c:v>416.14523699553303</c:v>
                </c:pt>
                <c:pt idx="75">
                  <c:v>421.84701831803352</c:v>
                </c:pt>
                <c:pt idx="76">
                  <c:v>427.5046635682823</c:v>
                </c:pt>
                <c:pt idx="77">
                  <c:v>433.11274671568123</c:v>
                </c:pt>
                <c:pt idx="78">
                  <c:v>438.65425678413828</c:v>
                </c:pt>
                <c:pt idx="79">
                  <c:v>444.10895557692982</c:v>
                </c:pt>
                <c:pt idx="80">
                  <c:v>449.47265008891327</c:v>
                </c:pt>
                <c:pt idx="81">
                  <c:v>454.74545356670643</c:v>
                </c:pt>
                <c:pt idx="82">
                  <c:v>459.9329354703184</c:v>
                </c:pt>
                <c:pt idx="83">
                  <c:v>465.03498962424919</c:v>
                </c:pt>
                <c:pt idx="84">
                  <c:v>470.05377812709429</c:v>
                </c:pt>
                <c:pt idx="85">
                  <c:v>474.98778106137098</c:v>
                </c:pt>
                <c:pt idx="86">
                  <c:v>479.83643102998394</c:v>
                </c:pt>
                <c:pt idx="87">
                  <c:v>484.59921882566164</c:v>
                </c:pt>
                <c:pt idx="88">
                  <c:v>489.27989357120447</c:v>
                </c:pt>
                <c:pt idx="89">
                  <c:v>493.8796617764641</c:v>
                </c:pt>
                <c:pt idx="90">
                  <c:v>498.39790975381658</c:v>
                </c:pt>
                <c:pt idx="91">
                  <c:v>502.83484989540676</c:v>
                </c:pt>
                <c:pt idx="92">
                  <c:v>507.1927408773613</c:v>
                </c:pt>
                <c:pt idx="93">
                  <c:v>511.472642701350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90-44C1-9DF6-E8F421A89F3A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394.14322869290271</c:v>
                </c:pt>
                <c:pt idx="71">
                  <c:v>401.40673625699185</c:v>
                </c:pt>
                <c:pt idx="72">
                  <c:v>408.78273866348098</c:v>
                </c:pt>
                <c:pt idx="73">
                  <c:v>416.27611553191286</c:v>
                </c:pt>
                <c:pt idx="74">
                  <c:v>423.89380635549651</c:v>
                </c:pt>
                <c:pt idx="75">
                  <c:v>431.62671073595698</c:v>
                </c:pt>
                <c:pt idx="76">
                  <c:v>439.48407433610612</c:v>
                </c:pt>
                <c:pt idx="77">
                  <c:v>447.46234924955286</c:v>
                </c:pt>
                <c:pt idx="78">
                  <c:v>455.55958071244686</c:v>
                </c:pt>
                <c:pt idx="79">
                  <c:v>463.76997253401271</c:v>
                </c:pt>
                <c:pt idx="80">
                  <c:v>472.09347535106508</c:v>
                </c:pt>
                <c:pt idx="81">
                  <c:v>480.52524870041276</c:v>
                </c:pt>
                <c:pt idx="82">
                  <c:v>489.06110475504892</c:v>
                </c:pt>
                <c:pt idx="83">
                  <c:v>497.70460127534272</c:v>
                </c:pt>
                <c:pt idx="84">
                  <c:v>506.46091455871976</c:v>
                </c:pt>
                <c:pt idx="85">
                  <c:v>515.33021332580586</c:v>
                </c:pt>
                <c:pt idx="86">
                  <c:v>524.31093819228056</c:v>
                </c:pt>
                <c:pt idx="87">
                  <c:v>533.41641737437863</c:v>
                </c:pt>
                <c:pt idx="88">
                  <c:v>542.68895364735715</c:v>
                </c:pt>
                <c:pt idx="89">
                  <c:v>552.13227984094669</c:v>
                </c:pt>
                <c:pt idx="90">
                  <c:v>561.74822590832866</c:v>
                </c:pt>
                <c:pt idx="91">
                  <c:v>571.53842449688636</c:v>
                </c:pt>
                <c:pt idx="92">
                  <c:v>581.50569380494028</c:v>
                </c:pt>
                <c:pt idx="93">
                  <c:v>591.651207226365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790-44C1-9DF6-E8F421A89F3A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394.20441644861427</c:v>
                </c:pt>
                <c:pt idx="71">
                  <c:v>401.56386139681297</c:v>
                </c:pt>
                <c:pt idx="72">
                  <c:v>409.07186445109488</c:v>
                </c:pt>
                <c:pt idx="73">
                  <c:v>416.73915829297027</c:v>
                </c:pt>
                <c:pt idx="74">
                  <c:v>424.57757968761871</c:v>
                </c:pt>
                <c:pt idx="75">
                  <c:v>432.57580245096864</c:v>
                </c:pt>
                <c:pt idx="76">
                  <c:v>440.74422993416448</c:v>
                </c:pt>
                <c:pt idx="77">
                  <c:v>449.08216879172198</c:v>
                </c:pt>
                <c:pt idx="78">
                  <c:v>457.59426630145509</c:v>
                </c:pt>
                <c:pt idx="79">
                  <c:v>466.27747995859261</c:v>
                </c:pt>
                <c:pt idx="80">
                  <c:v>475.13300847134883</c:v>
                </c:pt>
                <c:pt idx="81">
                  <c:v>484.15634556255895</c:v>
                </c:pt>
                <c:pt idx="82">
                  <c:v>493.40218723343389</c:v>
                </c:pt>
                <c:pt idx="83">
                  <c:v>502.89788778326073</c:v>
                </c:pt>
                <c:pt idx="84">
                  <c:v>512.65701132834852</c:v>
                </c:pt>
                <c:pt idx="85">
                  <c:v>522.68377338751884</c:v>
                </c:pt>
                <c:pt idx="86">
                  <c:v>532.98095373918306</c:v>
                </c:pt>
                <c:pt idx="87">
                  <c:v>543.54909253275378</c:v>
                </c:pt>
                <c:pt idx="88">
                  <c:v>554.39705902476692</c:v>
                </c:pt>
                <c:pt idx="89">
                  <c:v>565.53376392519897</c:v>
                </c:pt>
                <c:pt idx="90">
                  <c:v>576.96591500559805</c:v>
                </c:pt>
                <c:pt idx="91">
                  <c:v>588.6997754387877</c:v>
                </c:pt>
                <c:pt idx="92">
                  <c:v>600.74250848883321</c:v>
                </c:pt>
                <c:pt idx="93">
                  <c:v>613.099327823441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6</c:v>
                </c:pt>
                <c:pt idx="1">
                  <c:v>84</c:v>
                </c:pt>
                <c:pt idx="2">
                  <c:v>88</c:v>
                </c:pt>
                <c:pt idx="3">
                  <c:v>86</c:v>
                </c:pt>
                <c:pt idx="4">
                  <c:v>84</c:v>
                </c:pt>
                <c:pt idx="5">
                  <c:v>89</c:v>
                </c:pt>
                <c:pt idx="6">
                  <c:v>89</c:v>
                </c:pt>
                <c:pt idx="7">
                  <c:v>95</c:v>
                </c:pt>
                <c:pt idx="8">
                  <c:v>91</c:v>
                </c:pt>
                <c:pt idx="9">
                  <c:v>93</c:v>
                </c:pt>
                <c:pt idx="10">
                  <c:v>100</c:v>
                </c:pt>
                <c:pt idx="11">
                  <c:v>95</c:v>
                </c:pt>
                <c:pt idx="12">
                  <c:v>93</c:v>
                </c:pt>
                <c:pt idx="13">
                  <c:v>99</c:v>
                </c:pt>
                <c:pt idx="14">
                  <c:v>98</c:v>
                </c:pt>
                <c:pt idx="15">
                  <c:v>89</c:v>
                </c:pt>
                <c:pt idx="16">
                  <c:v>92</c:v>
                </c:pt>
                <c:pt idx="17">
                  <c:v>94</c:v>
                </c:pt>
                <c:pt idx="18">
                  <c:v>96</c:v>
                </c:pt>
                <c:pt idx="19">
                  <c:v>99</c:v>
                </c:pt>
                <c:pt idx="20">
                  <c:v>99</c:v>
                </c:pt>
                <c:pt idx="21">
                  <c:v>99</c:v>
                </c:pt>
                <c:pt idx="22">
                  <c:v>95</c:v>
                </c:pt>
                <c:pt idx="23">
                  <c:v>90</c:v>
                </c:pt>
                <c:pt idx="24">
                  <c:v>95</c:v>
                </c:pt>
                <c:pt idx="25">
                  <c:v>95</c:v>
                </c:pt>
                <c:pt idx="26">
                  <c:v>90</c:v>
                </c:pt>
                <c:pt idx="27">
                  <c:v>96</c:v>
                </c:pt>
                <c:pt idx="28">
                  <c:v>84</c:v>
                </c:pt>
                <c:pt idx="29">
                  <c:v>85</c:v>
                </c:pt>
                <c:pt idx="30">
                  <c:v>89</c:v>
                </c:pt>
                <c:pt idx="31">
                  <c:v>101</c:v>
                </c:pt>
                <c:pt idx="32">
                  <c:v>98</c:v>
                </c:pt>
                <c:pt idx="33">
                  <c:v>101</c:v>
                </c:pt>
                <c:pt idx="34">
                  <c:v>100</c:v>
                </c:pt>
                <c:pt idx="35">
                  <c:v>99</c:v>
                </c:pt>
                <c:pt idx="36">
                  <c:v>96</c:v>
                </c:pt>
                <c:pt idx="37">
                  <c:v>94</c:v>
                </c:pt>
                <c:pt idx="38">
                  <c:v>101</c:v>
                </c:pt>
                <c:pt idx="39">
                  <c:v>106</c:v>
                </c:pt>
                <c:pt idx="40">
                  <c:v>106</c:v>
                </c:pt>
                <c:pt idx="41">
                  <c:v>112</c:v>
                </c:pt>
                <c:pt idx="42">
                  <c:v>108</c:v>
                </c:pt>
                <c:pt idx="43">
                  <c:v>105</c:v>
                </c:pt>
                <c:pt idx="44">
                  <c:v>113</c:v>
                </c:pt>
                <c:pt idx="45">
                  <c:v>132</c:v>
                </c:pt>
                <c:pt idx="46">
                  <c:v>135</c:v>
                </c:pt>
                <c:pt idx="47">
                  <c:v>129</c:v>
                </c:pt>
                <c:pt idx="48">
                  <c:v>140</c:v>
                </c:pt>
                <c:pt idx="49">
                  <c:v>141</c:v>
                </c:pt>
                <c:pt idx="50">
                  <c:v>138</c:v>
                </c:pt>
                <c:pt idx="51">
                  <c:v>132</c:v>
                </c:pt>
                <c:pt idx="52">
                  <c:v>142</c:v>
                </c:pt>
                <c:pt idx="53">
                  <c:v>140</c:v>
                </c:pt>
                <c:pt idx="54">
                  <c:v>144</c:v>
                </c:pt>
                <c:pt idx="55">
                  <c:v>149</c:v>
                </c:pt>
                <c:pt idx="56">
                  <c:v>143</c:v>
                </c:pt>
                <c:pt idx="57">
                  <c:v>143</c:v>
                </c:pt>
                <c:pt idx="58">
                  <c:v>145</c:v>
                </c:pt>
                <c:pt idx="59">
                  <c:v>145</c:v>
                </c:pt>
                <c:pt idx="60">
                  <c:v>146</c:v>
                </c:pt>
                <c:pt idx="61">
                  <c:v>153</c:v>
                </c:pt>
                <c:pt idx="62">
                  <c:v>151</c:v>
                </c:pt>
                <c:pt idx="63">
                  <c:v>166</c:v>
                </c:pt>
                <c:pt idx="64">
                  <c:v>165</c:v>
                </c:pt>
                <c:pt idx="65">
                  <c:v>162</c:v>
                </c:pt>
                <c:pt idx="66">
                  <c:v>170</c:v>
                </c:pt>
                <c:pt idx="67">
                  <c:v>174</c:v>
                </c:pt>
                <c:pt idx="68">
                  <c:v>191</c:v>
                </c:pt>
                <c:pt idx="69">
                  <c:v>193</c:v>
                </c:pt>
                <c:pt idx="70">
                  <c:v>193</c:v>
                </c:pt>
                <c:pt idx="71">
                  <c:v>178</c:v>
                </c:pt>
                <c:pt idx="72">
                  <c:v>195</c:v>
                </c:pt>
                <c:pt idx="73">
                  <c:v>209</c:v>
                </c:pt>
                <c:pt idx="74">
                  <c:v>192</c:v>
                </c:pt>
                <c:pt idx="75">
                  <c:v>185</c:v>
                </c:pt>
                <c:pt idx="76">
                  <c:v>186</c:v>
                </c:pt>
                <c:pt idx="77">
                  <c:v>175</c:v>
                </c:pt>
                <c:pt idx="78">
                  <c:v>175</c:v>
                </c:pt>
                <c:pt idx="79">
                  <c:v>181</c:v>
                </c:pt>
                <c:pt idx="80">
                  <c:v>173</c:v>
                </c:pt>
                <c:pt idx="81">
                  <c:v>175</c:v>
                </c:pt>
                <c:pt idx="82">
                  <c:v>171</c:v>
                </c:pt>
                <c:pt idx="83">
                  <c:v>165</c:v>
                </c:pt>
                <c:pt idx="84">
                  <c:v>152</c:v>
                </c:pt>
                <c:pt idx="85">
                  <c:v>158</c:v>
                </c:pt>
                <c:pt idx="86">
                  <c:v>159</c:v>
                </c:pt>
                <c:pt idx="87">
                  <c:v>159</c:v>
                </c:pt>
                <c:pt idx="88">
                  <c:v>152</c:v>
                </c:pt>
                <c:pt idx="89">
                  <c:v>153</c:v>
                </c:pt>
                <c:pt idx="90">
                  <c:v>139</c:v>
                </c:pt>
                <c:pt idx="91">
                  <c:v>138</c:v>
                </c:pt>
                <c:pt idx="92">
                  <c:v>137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88.4489439565325</c:v>
                </c:pt>
                <c:pt idx="71">
                  <c:v>184.39739539927669</c:v>
                </c:pt>
                <c:pt idx="72">
                  <c:v>180.2656745855229</c:v>
                </c:pt>
                <c:pt idx="73">
                  <c:v>176.07376233210107</c:v>
                </c:pt>
                <c:pt idx="74">
                  <c:v>171.84928981400452</c:v>
                </c:pt>
                <c:pt idx="75">
                  <c:v>167.54700850002905</c:v>
                </c:pt>
                <c:pt idx="76">
                  <c:v>163.25100726116722</c:v>
                </c:pt>
                <c:pt idx="77">
                  <c:v>158.98894344741217</c:v>
                </c:pt>
                <c:pt idx="78">
                  <c:v>154.63219066843575</c:v>
                </c:pt>
                <c:pt idx="79">
                  <c:v>150.23677876148838</c:v>
                </c:pt>
                <c:pt idx="80">
                  <c:v>145.74594909104354</c:v>
                </c:pt>
                <c:pt idx="81">
                  <c:v>141.17377117880642</c:v>
                </c:pt>
                <c:pt idx="82">
                  <c:v>136.64857416307501</c:v>
                </c:pt>
                <c:pt idx="83">
                  <c:v>132.1484694365264</c:v>
                </c:pt>
                <c:pt idx="84">
                  <c:v>127.74795464172917</c:v>
                </c:pt>
                <c:pt idx="85">
                  <c:v>123.42106992877601</c:v>
                </c:pt>
                <c:pt idx="86">
                  <c:v>119.16153979736174</c:v>
                </c:pt>
                <c:pt idx="87">
                  <c:v>114.97017489059746</c:v>
                </c:pt>
                <c:pt idx="88">
                  <c:v>110.85376812700625</c:v>
                </c:pt>
                <c:pt idx="89">
                  <c:v>106.84466868142519</c:v>
                </c:pt>
                <c:pt idx="90">
                  <c:v>102.95837080080625</c:v>
                </c:pt>
                <c:pt idx="91">
                  <c:v>99.209732048239545</c:v>
                </c:pt>
                <c:pt idx="92">
                  <c:v>95.575147514632164</c:v>
                </c:pt>
                <c:pt idx="93">
                  <c:v>92.0332272951093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021-4467-BCF5-F751ED0D21AC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88.91782277236891</c:v>
                </c:pt>
                <c:pt idx="71">
                  <c:v>185.5380378411233</c:v>
                </c:pt>
                <c:pt idx="72">
                  <c:v>182.23889067796671</c:v>
                </c:pt>
                <c:pt idx="73">
                  <c:v>179.05109105688959</c:v>
                </c:pt>
                <c:pt idx="74">
                  <c:v>176.00114657501018</c:v>
                </c:pt>
                <c:pt idx="75">
                  <c:v>173.01310486264791</c:v>
                </c:pt>
                <c:pt idx="76">
                  <c:v>170.15240002689387</c:v>
                </c:pt>
                <c:pt idx="77">
                  <c:v>167.42990086240798</c:v>
                </c:pt>
                <c:pt idx="78">
                  <c:v>164.71317464396822</c:v>
                </c:pt>
                <c:pt idx="79">
                  <c:v>162.03669759906435</c:v>
                </c:pt>
                <c:pt idx="80">
                  <c:v>159.32291370486573</c:v>
                </c:pt>
                <c:pt idx="81">
                  <c:v>156.5626790426839</c:v>
                </c:pt>
                <c:pt idx="82">
                  <c:v>153.85871700741643</c:v>
                </c:pt>
                <c:pt idx="83">
                  <c:v>151.17358948997372</c:v>
                </c:pt>
                <c:pt idx="84">
                  <c:v>148.57128126872672</c:v>
                </c:pt>
                <c:pt idx="85">
                  <c:v>146.01353054517838</c:v>
                </c:pt>
                <c:pt idx="86">
                  <c:v>143.48691804344691</c:v>
                </c:pt>
                <c:pt idx="87">
                  <c:v>140.98262277992711</c:v>
                </c:pt>
                <c:pt idx="88">
                  <c:v>138.50100146916427</c:v>
                </c:pt>
                <c:pt idx="89">
                  <c:v>136.06782581228384</c:v>
                </c:pt>
                <c:pt idx="90">
                  <c:v>133.69299120275815</c:v>
                </c:pt>
                <c:pt idx="91">
                  <c:v>131.38639126338828</c:v>
                </c:pt>
                <c:pt idx="92">
                  <c:v>129.12304070218573</c:v>
                </c:pt>
                <c:pt idx="93">
                  <c:v>126.878402455829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021-4467-BCF5-F751ED0D21AC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93.12013560205548</c:v>
                </c:pt>
                <c:pt idx="71">
                  <c:v>194.0050464471542</c:v>
                </c:pt>
                <c:pt idx="72">
                  <c:v>194.97488991753488</c:v>
                </c:pt>
                <c:pt idx="73">
                  <c:v>196.06528349455218</c:v>
                </c:pt>
                <c:pt idx="74">
                  <c:v>197.32262616299568</c:v>
                </c:pt>
                <c:pt idx="75">
                  <c:v>198.68811911103933</c:v>
                </c:pt>
                <c:pt idx="76">
                  <c:v>200.17783875558024</c:v>
                </c:pt>
                <c:pt idx="77">
                  <c:v>201.80339052602974</c:v>
                </c:pt>
                <c:pt idx="78">
                  <c:v>203.51763663420155</c:v>
                </c:pt>
                <c:pt idx="79">
                  <c:v>205.35129390124985</c:v>
                </c:pt>
                <c:pt idx="80">
                  <c:v>207.2299878842386</c:v>
                </c:pt>
                <c:pt idx="81">
                  <c:v>209.12822913349069</c:v>
                </c:pt>
                <c:pt idx="82">
                  <c:v>211.10256658249205</c:v>
                </c:pt>
                <c:pt idx="83">
                  <c:v>213.13272142748372</c:v>
                </c:pt>
                <c:pt idx="84">
                  <c:v>215.27352571661328</c:v>
                </c:pt>
                <c:pt idx="85">
                  <c:v>217.46294419574753</c:v>
                </c:pt>
                <c:pt idx="86">
                  <c:v>219.68573971895336</c:v>
                </c:pt>
                <c:pt idx="87">
                  <c:v>221.97286474726698</c:v>
                </c:pt>
                <c:pt idx="88">
                  <c:v>224.48885623818052</c:v>
                </c:pt>
                <c:pt idx="89">
                  <c:v>227.22487837504377</c:v>
                </c:pt>
                <c:pt idx="90">
                  <c:v>230.18398163954492</c:v>
                </c:pt>
                <c:pt idx="91">
                  <c:v>233.35298310708561</c:v>
                </c:pt>
                <c:pt idx="92">
                  <c:v>236.71277939305784</c:v>
                </c:pt>
                <c:pt idx="93">
                  <c:v>240.233022530870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021-4467-BCF5-F751ED0D21AC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193.25595950424582</c:v>
                </c:pt>
                <c:pt idx="71">
                  <c:v>194.34240232944131</c:v>
                </c:pt>
                <c:pt idx="72">
                  <c:v>195.57677768944404</c:v>
                </c:pt>
                <c:pt idx="73">
                  <c:v>197.00140409810268</c:v>
                </c:pt>
                <c:pt idx="74">
                  <c:v>198.66776147840432</c:v>
                </c:pt>
                <c:pt idx="75">
                  <c:v>200.5055171896978</c:v>
                </c:pt>
                <c:pt idx="76">
                  <c:v>202.5271069439807</c:v>
                </c:pt>
                <c:pt idx="77">
                  <c:v>204.74432631065736</c:v>
                </c:pt>
                <c:pt idx="78">
                  <c:v>207.11962657816809</c:v>
                </c:pt>
                <c:pt idx="79">
                  <c:v>209.68267599874423</c:v>
                </c:pt>
                <c:pt idx="80">
                  <c:v>212.35563416716144</c:v>
                </c:pt>
                <c:pt idx="81">
                  <c:v>215.10735910091751</c:v>
                </c:pt>
                <c:pt idx="82">
                  <c:v>218.20106326916928</c:v>
                </c:pt>
                <c:pt idx="83">
                  <c:v>221.67937344197105</c:v>
                </c:pt>
                <c:pt idx="84">
                  <c:v>225.59545339682481</c:v>
                </c:pt>
                <c:pt idx="85">
                  <c:v>229.87145997824842</c:v>
                </c:pt>
                <c:pt idx="86">
                  <c:v>234.47889959666855</c:v>
                </c:pt>
                <c:pt idx="87">
                  <c:v>239.3752690798197</c:v>
                </c:pt>
                <c:pt idx="88">
                  <c:v>244.57699684992346</c:v>
                </c:pt>
                <c:pt idx="89">
                  <c:v>250.07656253427837</c:v>
                </c:pt>
                <c:pt idx="90">
                  <c:v>255.88240543454185</c:v>
                </c:pt>
                <c:pt idx="91">
                  <c:v>261.98387703865313</c:v>
                </c:pt>
                <c:pt idx="92">
                  <c:v>268.36304827298966</c:v>
                </c:pt>
                <c:pt idx="93">
                  <c:v>274.990302240307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021-4467-BCF5-F751ED0D21AC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04</c:v>
                </c:pt>
                <c:pt idx="1">
                  <c:v>104</c:v>
                </c:pt>
                <c:pt idx="2">
                  <c:v>104</c:v>
                </c:pt>
                <c:pt idx="3">
                  <c:v>104</c:v>
                </c:pt>
                <c:pt idx="4">
                  <c:v>104</c:v>
                </c:pt>
                <c:pt idx="5">
                  <c:v>104</c:v>
                </c:pt>
                <c:pt idx="6">
                  <c:v>104</c:v>
                </c:pt>
                <c:pt idx="7">
                  <c:v>104</c:v>
                </c:pt>
                <c:pt idx="8">
                  <c:v>104</c:v>
                </c:pt>
                <c:pt idx="9">
                  <c:v>104</c:v>
                </c:pt>
                <c:pt idx="10">
                  <c:v>104</c:v>
                </c:pt>
                <c:pt idx="11">
                  <c:v>104</c:v>
                </c:pt>
                <c:pt idx="12">
                  <c:v>104</c:v>
                </c:pt>
                <c:pt idx="13">
                  <c:v>104</c:v>
                </c:pt>
                <c:pt idx="14">
                  <c:v>104</c:v>
                </c:pt>
                <c:pt idx="15">
                  <c:v>104</c:v>
                </c:pt>
                <c:pt idx="16">
                  <c:v>104</c:v>
                </c:pt>
                <c:pt idx="17">
                  <c:v>104</c:v>
                </c:pt>
                <c:pt idx="18">
                  <c:v>104</c:v>
                </c:pt>
                <c:pt idx="19">
                  <c:v>104</c:v>
                </c:pt>
                <c:pt idx="20">
                  <c:v>104</c:v>
                </c:pt>
                <c:pt idx="21">
                  <c:v>104</c:v>
                </c:pt>
                <c:pt idx="22">
                  <c:v>104</c:v>
                </c:pt>
                <c:pt idx="23">
                  <c:v>104</c:v>
                </c:pt>
                <c:pt idx="24">
                  <c:v>104</c:v>
                </c:pt>
                <c:pt idx="25">
                  <c:v>104</c:v>
                </c:pt>
                <c:pt idx="26">
                  <c:v>104</c:v>
                </c:pt>
                <c:pt idx="27">
                  <c:v>104</c:v>
                </c:pt>
                <c:pt idx="28">
                  <c:v>104</c:v>
                </c:pt>
                <c:pt idx="29">
                  <c:v>104</c:v>
                </c:pt>
                <c:pt idx="30">
                  <c:v>104</c:v>
                </c:pt>
                <c:pt idx="31">
                  <c:v>104</c:v>
                </c:pt>
                <c:pt idx="32">
                  <c:v>104</c:v>
                </c:pt>
                <c:pt idx="33">
                  <c:v>104</c:v>
                </c:pt>
                <c:pt idx="34">
                  <c:v>104</c:v>
                </c:pt>
                <c:pt idx="35">
                  <c:v>104</c:v>
                </c:pt>
                <c:pt idx="36">
                  <c:v>104</c:v>
                </c:pt>
                <c:pt idx="37">
                  <c:v>104</c:v>
                </c:pt>
                <c:pt idx="38">
                  <c:v>104</c:v>
                </c:pt>
                <c:pt idx="39">
                  <c:v>104</c:v>
                </c:pt>
                <c:pt idx="40">
                  <c:v>104</c:v>
                </c:pt>
                <c:pt idx="41">
                  <c:v>104</c:v>
                </c:pt>
                <c:pt idx="42">
                  <c:v>104</c:v>
                </c:pt>
                <c:pt idx="43">
                  <c:v>104</c:v>
                </c:pt>
                <c:pt idx="44">
                  <c:v>104</c:v>
                </c:pt>
                <c:pt idx="45">
                  <c:v>104</c:v>
                </c:pt>
                <c:pt idx="46">
                  <c:v>104</c:v>
                </c:pt>
                <c:pt idx="47">
                  <c:v>104</c:v>
                </c:pt>
                <c:pt idx="48">
                  <c:v>104</c:v>
                </c:pt>
                <c:pt idx="49">
                  <c:v>104</c:v>
                </c:pt>
                <c:pt idx="50">
                  <c:v>104</c:v>
                </c:pt>
                <c:pt idx="51">
                  <c:v>104</c:v>
                </c:pt>
                <c:pt idx="52">
                  <c:v>104</c:v>
                </c:pt>
                <c:pt idx="53">
                  <c:v>104</c:v>
                </c:pt>
                <c:pt idx="54">
                  <c:v>104</c:v>
                </c:pt>
                <c:pt idx="55">
                  <c:v>104</c:v>
                </c:pt>
                <c:pt idx="56">
                  <c:v>104</c:v>
                </c:pt>
                <c:pt idx="57">
                  <c:v>104</c:v>
                </c:pt>
                <c:pt idx="58">
                  <c:v>104</c:v>
                </c:pt>
                <c:pt idx="59">
                  <c:v>104</c:v>
                </c:pt>
                <c:pt idx="60">
                  <c:v>104</c:v>
                </c:pt>
                <c:pt idx="61">
                  <c:v>104</c:v>
                </c:pt>
                <c:pt idx="62">
                  <c:v>104</c:v>
                </c:pt>
                <c:pt idx="63">
                  <c:v>104</c:v>
                </c:pt>
                <c:pt idx="64">
                  <c:v>104</c:v>
                </c:pt>
                <c:pt idx="65">
                  <c:v>104</c:v>
                </c:pt>
                <c:pt idx="66">
                  <c:v>104</c:v>
                </c:pt>
                <c:pt idx="67">
                  <c:v>104</c:v>
                </c:pt>
                <c:pt idx="68">
                  <c:v>104</c:v>
                </c:pt>
                <c:pt idx="69">
                  <c:v>104</c:v>
                </c:pt>
                <c:pt idx="70">
                  <c:v>104</c:v>
                </c:pt>
                <c:pt idx="71">
                  <c:v>104</c:v>
                </c:pt>
                <c:pt idx="72">
                  <c:v>104</c:v>
                </c:pt>
                <c:pt idx="73">
                  <c:v>104</c:v>
                </c:pt>
                <c:pt idx="74">
                  <c:v>104</c:v>
                </c:pt>
                <c:pt idx="75">
                  <c:v>104</c:v>
                </c:pt>
                <c:pt idx="76">
                  <c:v>104</c:v>
                </c:pt>
                <c:pt idx="77">
                  <c:v>104</c:v>
                </c:pt>
                <c:pt idx="78">
                  <c:v>104</c:v>
                </c:pt>
                <c:pt idx="79">
                  <c:v>104</c:v>
                </c:pt>
                <c:pt idx="80">
                  <c:v>104</c:v>
                </c:pt>
                <c:pt idx="81">
                  <c:v>104</c:v>
                </c:pt>
                <c:pt idx="82">
                  <c:v>104</c:v>
                </c:pt>
                <c:pt idx="83">
                  <c:v>104</c:v>
                </c:pt>
                <c:pt idx="84">
                  <c:v>104</c:v>
                </c:pt>
                <c:pt idx="85">
                  <c:v>104</c:v>
                </c:pt>
                <c:pt idx="86">
                  <c:v>104</c:v>
                </c:pt>
                <c:pt idx="87">
                  <c:v>104</c:v>
                </c:pt>
                <c:pt idx="88">
                  <c:v>104</c:v>
                </c:pt>
                <c:pt idx="89">
                  <c:v>104</c:v>
                </c:pt>
                <c:pt idx="90">
                  <c:v>104</c:v>
                </c:pt>
                <c:pt idx="91">
                  <c:v>104</c:v>
                </c:pt>
                <c:pt idx="92">
                  <c:v>104</c:v>
                </c:pt>
                <c:pt idx="93">
                  <c:v>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3</c:v>
                </c:pt>
                <c:pt idx="1">
                  <c:v>30</c:v>
                </c:pt>
                <c:pt idx="2">
                  <c:v>47</c:v>
                </c:pt>
                <c:pt idx="3">
                  <c:v>68</c:v>
                </c:pt>
                <c:pt idx="4">
                  <c:v>86</c:v>
                </c:pt>
                <c:pt idx="5">
                  <c:v>102</c:v>
                </c:pt>
                <c:pt idx="6">
                  <c:v>108</c:v>
                </c:pt>
                <c:pt idx="7">
                  <c:v>125</c:v>
                </c:pt>
                <c:pt idx="8">
                  <c:v>136</c:v>
                </c:pt>
                <c:pt idx="9">
                  <c:v>151</c:v>
                </c:pt>
                <c:pt idx="10">
                  <c:v>173</c:v>
                </c:pt>
                <c:pt idx="11">
                  <c:v>194</c:v>
                </c:pt>
                <c:pt idx="12">
                  <c:v>208</c:v>
                </c:pt>
                <c:pt idx="13">
                  <c:v>228</c:v>
                </c:pt>
                <c:pt idx="14">
                  <c:v>243</c:v>
                </c:pt>
                <c:pt idx="15">
                  <c:v>259</c:v>
                </c:pt>
                <c:pt idx="16">
                  <c:v>266</c:v>
                </c:pt>
                <c:pt idx="17">
                  <c:v>281</c:v>
                </c:pt>
                <c:pt idx="18">
                  <c:v>291</c:v>
                </c:pt>
                <c:pt idx="19">
                  <c:v>305</c:v>
                </c:pt>
                <c:pt idx="20">
                  <c:v>314</c:v>
                </c:pt>
                <c:pt idx="21">
                  <c:v>327</c:v>
                </c:pt>
                <c:pt idx="22">
                  <c:v>338</c:v>
                </c:pt>
                <c:pt idx="23">
                  <c:v>344</c:v>
                </c:pt>
                <c:pt idx="24">
                  <c:v>351</c:v>
                </c:pt>
                <c:pt idx="25">
                  <c:v>363</c:v>
                </c:pt>
                <c:pt idx="26">
                  <c:v>368</c:v>
                </c:pt>
                <c:pt idx="27">
                  <c:v>375</c:v>
                </c:pt>
                <c:pt idx="28">
                  <c:v>390</c:v>
                </c:pt>
                <c:pt idx="29">
                  <c:v>399</c:v>
                </c:pt>
                <c:pt idx="30">
                  <c:v>406</c:v>
                </c:pt>
                <c:pt idx="31">
                  <c:v>416</c:v>
                </c:pt>
                <c:pt idx="32">
                  <c:v>426</c:v>
                </c:pt>
                <c:pt idx="33">
                  <c:v>435</c:v>
                </c:pt>
                <c:pt idx="34">
                  <c:v>445</c:v>
                </c:pt>
                <c:pt idx="35">
                  <c:v>456</c:v>
                </c:pt>
                <c:pt idx="36">
                  <c:v>464</c:v>
                </c:pt>
                <c:pt idx="37">
                  <c:v>471</c:v>
                </c:pt>
                <c:pt idx="38">
                  <c:v>475</c:v>
                </c:pt>
                <c:pt idx="39">
                  <c:v>485</c:v>
                </c:pt>
                <c:pt idx="40">
                  <c:v>501</c:v>
                </c:pt>
                <c:pt idx="41">
                  <c:v>507</c:v>
                </c:pt>
                <c:pt idx="42">
                  <c:v>522</c:v>
                </c:pt>
                <c:pt idx="43">
                  <c:v>529</c:v>
                </c:pt>
                <c:pt idx="44">
                  <c:v>536</c:v>
                </c:pt>
                <c:pt idx="45">
                  <c:v>545</c:v>
                </c:pt>
                <c:pt idx="46">
                  <c:v>558</c:v>
                </c:pt>
                <c:pt idx="47">
                  <c:v>574</c:v>
                </c:pt>
                <c:pt idx="48">
                  <c:v>588</c:v>
                </c:pt>
                <c:pt idx="49">
                  <c:v>599</c:v>
                </c:pt>
                <c:pt idx="50">
                  <c:v>609</c:v>
                </c:pt>
                <c:pt idx="51">
                  <c:v>622</c:v>
                </c:pt>
                <c:pt idx="52">
                  <c:v>631</c:v>
                </c:pt>
                <c:pt idx="53">
                  <c:v>642</c:v>
                </c:pt>
                <c:pt idx="54">
                  <c:v>651</c:v>
                </c:pt>
                <c:pt idx="55">
                  <c:v>661</c:v>
                </c:pt>
                <c:pt idx="56">
                  <c:v>677</c:v>
                </c:pt>
                <c:pt idx="57">
                  <c:v>687</c:v>
                </c:pt>
                <c:pt idx="58">
                  <c:v>704</c:v>
                </c:pt>
                <c:pt idx="59">
                  <c:v>719</c:v>
                </c:pt>
                <c:pt idx="60">
                  <c:v>736</c:v>
                </c:pt>
                <c:pt idx="61">
                  <c:v>759</c:v>
                </c:pt>
                <c:pt idx="62">
                  <c:v>771</c:v>
                </c:pt>
                <c:pt idx="63">
                  <c:v>783</c:v>
                </c:pt>
                <c:pt idx="64">
                  <c:v>802</c:v>
                </c:pt>
                <c:pt idx="65">
                  <c:v>814</c:v>
                </c:pt>
                <c:pt idx="66">
                  <c:v>838</c:v>
                </c:pt>
                <c:pt idx="67">
                  <c:v>854</c:v>
                </c:pt>
                <c:pt idx="68">
                  <c:v>873</c:v>
                </c:pt>
                <c:pt idx="69">
                  <c:v>892</c:v>
                </c:pt>
                <c:pt idx="70">
                  <c:v>906</c:v>
                </c:pt>
                <c:pt idx="71">
                  <c:v>923</c:v>
                </c:pt>
                <c:pt idx="72">
                  <c:v>942</c:v>
                </c:pt>
                <c:pt idx="73">
                  <c:v>954</c:v>
                </c:pt>
                <c:pt idx="74">
                  <c:v>972</c:v>
                </c:pt>
                <c:pt idx="75">
                  <c:v>983</c:v>
                </c:pt>
                <c:pt idx="76">
                  <c:v>999</c:v>
                </c:pt>
                <c:pt idx="77">
                  <c:v>1011</c:v>
                </c:pt>
                <c:pt idx="78">
                  <c:v>1029</c:v>
                </c:pt>
                <c:pt idx="79">
                  <c:v>1042</c:v>
                </c:pt>
                <c:pt idx="80">
                  <c:v>1062</c:v>
                </c:pt>
                <c:pt idx="81">
                  <c:v>1081</c:v>
                </c:pt>
                <c:pt idx="82">
                  <c:v>1093</c:v>
                </c:pt>
                <c:pt idx="83">
                  <c:v>1110</c:v>
                </c:pt>
                <c:pt idx="84">
                  <c:v>1122</c:v>
                </c:pt>
                <c:pt idx="85">
                  <c:v>1141</c:v>
                </c:pt>
                <c:pt idx="86">
                  <c:v>1159</c:v>
                </c:pt>
                <c:pt idx="87">
                  <c:v>1183</c:v>
                </c:pt>
                <c:pt idx="88">
                  <c:v>1191</c:v>
                </c:pt>
                <c:pt idx="89">
                  <c:v>1205</c:v>
                </c:pt>
                <c:pt idx="90">
                  <c:v>1224</c:v>
                </c:pt>
                <c:pt idx="91">
                  <c:v>1230</c:v>
                </c:pt>
                <c:pt idx="92">
                  <c:v>1244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905.92846286762563</c:v>
                </c:pt>
                <c:pt idx="71">
                  <c:v>919.58269940777507</c:v>
                </c:pt>
                <c:pt idx="72">
                  <c:v>932.94706934637884</c:v>
                </c:pt>
                <c:pt idx="73">
                  <c:v>946.01222448166845</c:v>
                </c:pt>
                <c:pt idx="74">
                  <c:v>958.7441990156841</c:v>
                </c:pt>
                <c:pt idx="75">
                  <c:v>971.13550044024589</c:v>
                </c:pt>
                <c:pt idx="76">
                  <c:v>983.20461365475535</c:v>
                </c:pt>
                <c:pt idx="77">
                  <c:v>994.94539400286624</c:v>
                </c:pt>
                <c:pt idx="78">
                  <c:v>1006.3177377347439</c:v>
                </c:pt>
                <c:pt idx="79">
                  <c:v>1017.276440863101</c:v>
                </c:pt>
                <c:pt idx="80">
                  <c:v>1027.8196614179392</c:v>
                </c:pt>
                <c:pt idx="81">
                  <c:v>1037.9635166754217</c:v>
                </c:pt>
                <c:pt idx="82">
                  <c:v>1047.7427959742615</c:v>
                </c:pt>
                <c:pt idx="83">
                  <c:v>1057.1683563020899</c:v>
                </c:pt>
                <c:pt idx="84">
                  <c:v>1066.2537351354886</c:v>
                </c:pt>
                <c:pt idx="85">
                  <c:v>1075.0043912720964</c:v>
                </c:pt>
                <c:pt idx="86">
                  <c:v>1083.4276796078645</c:v>
                </c:pt>
                <c:pt idx="87">
                  <c:v>1091.5312281352276</c:v>
                </c:pt>
                <c:pt idx="88">
                  <c:v>1099.3332371194963</c:v>
                </c:pt>
                <c:pt idx="89">
                  <c:v>1106.8444187767316</c:v>
                </c:pt>
                <c:pt idx="90">
                  <c:v>1114.071215859931</c:v>
                </c:pt>
                <c:pt idx="91">
                  <c:v>1121.0217248009785</c:v>
                </c:pt>
                <c:pt idx="92">
                  <c:v>1127.7084667917059</c:v>
                </c:pt>
                <c:pt idx="93">
                  <c:v>1134.14253535802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DD-4661-8E00-FA50E7285F44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906.35743463592155</c:v>
                </c:pt>
                <c:pt idx="71">
                  <c:v>920.65799824251587</c:v>
                </c:pt>
                <c:pt idx="72">
                  <c:v>934.86532192166169</c:v>
                </c:pt>
                <c:pt idx="73">
                  <c:v>948.99285321631714</c:v>
                </c:pt>
                <c:pt idx="74">
                  <c:v>963.01870348648731</c:v>
                </c:pt>
                <c:pt idx="75">
                  <c:v>976.9197115139533</c:v>
                </c:pt>
                <c:pt idx="76">
                  <c:v>990.71103919857512</c:v>
                </c:pt>
                <c:pt idx="77">
                  <c:v>1004.3824012616616</c:v>
                </c:pt>
                <c:pt idx="78">
                  <c:v>1017.8961362491038</c:v>
                </c:pt>
                <c:pt idx="79">
                  <c:v>1031.1985088981428</c:v>
                </c:pt>
                <c:pt idx="80">
                  <c:v>1044.2760636657001</c:v>
                </c:pt>
                <c:pt idx="81">
                  <c:v>1057.1294911892412</c:v>
                </c:pt>
                <c:pt idx="82">
                  <c:v>1069.7750956249606</c:v>
                </c:pt>
                <c:pt idx="83">
                  <c:v>1082.2122043607806</c:v>
                </c:pt>
                <c:pt idx="84">
                  <c:v>1094.4462214404884</c:v>
                </c:pt>
                <c:pt idx="85">
                  <c:v>1106.4732026708334</c:v>
                </c:pt>
                <c:pt idx="86">
                  <c:v>1118.2927623955304</c:v>
                </c:pt>
                <c:pt idx="87">
                  <c:v>1129.9026948261187</c:v>
                </c:pt>
                <c:pt idx="88">
                  <c:v>1141.3126113915437</c:v>
                </c:pt>
                <c:pt idx="89">
                  <c:v>1152.5249143760097</c:v>
                </c:pt>
                <c:pt idx="90">
                  <c:v>1163.5382066548216</c:v>
                </c:pt>
                <c:pt idx="91">
                  <c:v>1174.3528020379526</c:v>
                </c:pt>
                <c:pt idx="92">
                  <c:v>1184.9748984206462</c:v>
                </c:pt>
                <c:pt idx="93">
                  <c:v>1195.40701236769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DD-4661-8E00-FA50E7285F44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909.96328225186494</c:v>
                </c:pt>
                <c:pt idx="71">
                  <c:v>928.18498544479394</c:v>
                </c:pt>
                <c:pt idx="72">
                  <c:v>946.64838547733473</c:v>
                </c:pt>
                <c:pt idx="73">
                  <c:v>965.36396628454463</c:v>
                </c:pt>
                <c:pt idx="74">
                  <c:v>984.34663747064496</c:v>
                </c:pt>
                <c:pt idx="75">
                  <c:v>1003.5768466947875</c:v>
                </c:pt>
                <c:pt idx="76">
                  <c:v>1023.0744584008354</c:v>
                </c:pt>
                <c:pt idx="77">
                  <c:v>1042.8318498592159</c:v>
                </c:pt>
                <c:pt idx="78">
                  <c:v>1062.8448212307651</c:v>
                </c:pt>
                <c:pt idx="79">
                  <c:v>1083.1009193135203</c:v>
                </c:pt>
                <c:pt idx="80">
                  <c:v>1103.6000380499445</c:v>
                </c:pt>
                <c:pt idx="81">
                  <c:v>1124.3317776329832</c:v>
                </c:pt>
                <c:pt idx="82">
                  <c:v>1145.2871404541172</c:v>
                </c:pt>
                <c:pt idx="83">
                  <c:v>1166.4737704143374</c:v>
                </c:pt>
                <c:pt idx="84">
                  <c:v>1187.9027888655382</c:v>
                </c:pt>
                <c:pt idx="85">
                  <c:v>1209.5745583064904</c:v>
                </c:pt>
                <c:pt idx="86">
                  <c:v>1231.485728376822</c:v>
                </c:pt>
                <c:pt idx="87">
                  <c:v>1253.6772211306752</c:v>
                </c:pt>
                <c:pt idx="88">
                  <c:v>1276.2760029543697</c:v>
                </c:pt>
                <c:pt idx="89">
                  <c:v>1299.2904735414768</c:v>
                </c:pt>
                <c:pt idx="90">
                  <c:v>1322.7254185811737</c:v>
                </c:pt>
                <c:pt idx="91">
                  <c:v>1346.5843815136145</c:v>
                </c:pt>
                <c:pt idx="92">
                  <c:v>1370.8751258505665</c:v>
                </c:pt>
                <c:pt idx="93">
                  <c:v>1395.600135710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DD-4661-8E00-FA50E7285F44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910.09474505374033</c:v>
                </c:pt>
                <c:pt idx="71">
                  <c:v>928.52257114124131</c:v>
                </c:pt>
                <c:pt idx="72">
                  <c:v>947.26957652597048</c:v>
                </c:pt>
                <c:pt idx="73">
                  <c:v>966.35882053354908</c:v>
                </c:pt>
                <c:pt idx="74">
                  <c:v>985.81573462975894</c:v>
                </c:pt>
                <c:pt idx="75">
                  <c:v>1005.6159843399116</c:v>
                </c:pt>
                <c:pt idx="76">
                  <c:v>1025.781921418446</c:v>
                </c:pt>
                <c:pt idx="77">
                  <c:v>1046.3120562022923</c:v>
                </c:pt>
                <c:pt idx="78">
                  <c:v>1067.2163734368521</c:v>
                </c:pt>
                <c:pt idx="79">
                  <c:v>1088.4883362554394</c:v>
                </c:pt>
                <c:pt idx="80">
                  <c:v>1110.1305201004552</c:v>
                </c:pt>
                <c:pt idx="81">
                  <c:v>1132.1332431684857</c:v>
                </c:pt>
                <c:pt idx="82">
                  <c:v>1154.6668229061156</c:v>
                </c:pt>
                <c:pt idx="83">
                  <c:v>1177.8085442309894</c:v>
                </c:pt>
                <c:pt idx="84">
                  <c:v>1201.5916180086701</c:v>
                </c:pt>
                <c:pt idx="85">
                  <c:v>1226.0265108310987</c:v>
                </c:pt>
                <c:pt idx="86">
                  <c:v>1251.1211242194136</c:v>
                </c:pt>
                <c:pt idx="87">
                  <c:v>1276.8756376065292</c:v>
                </c:pt>
                <c:pt idx="88">
                  <c:v>1303.3122225012846</c:v>
                </c:pt>
                <c:pt idx="89">
                  <c:v>1330.4518600013796</c:v>
                </c:pt>
                <c:pt idx="90">
                  <c:v>1358.3112885290525</c:v>
                </c:pt>
                <c:pt idx="91">
                  <c:v>1386.9052789982557</c:v>
                </c:pt>
                <c:pt idx="92">
                  <c:v>1416.2522289726953</c:v>
                </c:pt>
                <c:pt idx="93">
                  <c:v>1446.36438799466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4</c:v>
                </c:pt>
                <c:pt idx="1">
                  <c:v>34</c:v>
                </c:pt>
                <c:pt idx="2">
                  <c:v>36</c:v>
                </c:pt>
                <c:pt idx="3">
                  <c:v>41</c:v>
                </c:pt>
                <c:pt idx="4">
                  <c:v>38</c:v>
                </c:pt>
                <c:pt idx="5">
                  <c:v>41</c:v>
                </c:pt>
                <c:pt idx="6">
                  <c:v>40</c:v>
                </c:pt>
                <c:pt idx="7">
                  <c:v>38</c:v>
                </c:pt>
                <c:pt idx="8">
                  <c:v>38</c:v>
                </c:pt>
                <c:pt idx="9">
                  <c:v>39</c:v>
                </c:pt>
                <c:pt idx="10">
                  <c:v>40</c:v>
                </c:pt>
                <c:pt idx="11">
                  <c:v>43</c:v>
                </c:pt>
                <c:pt idx="12">
                  <c:v>40</c:v>
                </c:pt>
                <c:pt idx="13">
                  <c:v>38</c:v>
                </c:pt>
                <c:pt idx="14">
                  <c:v>44</c:v>
                </c:pt>
                <c:pt idx="15">
                  <c:v>44</c:v>
                </c:pt>
                <c:pt idx="16">
                  <c:v>42</c:v>
                </c:pt>
                <c:pt idx="17">
                  <c:v>42</c:v>
                </c:pt>
                <c:pt idx="18">
                  <c:v>44</c:v>
                </c:pt>
                <c:pt idx="19">
                  <c:v>46</c:v>
                </c:pt>
                <c:pt idx="20">
                  <c:v>54</c:v>
                </c:pt>
                <c:pt idx="21">
                  <c:v>56</c:v>
                </c:pt>
                <c:pt idx="22">
                  <c:v>52</c:v>
                </c:pt>
                <c:pt idx="23">
                  <c:v>48</c:v>
                </c:pt>
                <c:pt idx="24">
                  <c:v>45</c:v>
                </c:pt>
                <c:pt idx="25">
                  <c:v>43</c:v>
                </c:pt>
                <c:pt idx="26">
                  <c:v>41</c:v>
                </c:pt>
                <c:pt idx="27">
                  <c:v>42</c:v>
                </c:pt>
                <c:pt idx="28">
                  <c:v>41</c:v>
                </c:pt>
                <c:pt idx="29">
                  <c:v>43</c:v>
                </c:pt>
                <c:pt idx="30">
                  <c:v>45</c:v>
                </c:pt>
                <c:pt idx="31">
                  <c:v>46</c:v>
                </c:pt>
                <c:pt idx="32">
                  <c:v>41</c:v>
                </c:pt>
                <c:pt idx="33">
                  <c:v>53</c:v>
                </c:pt>
                <c:pt idx="34">
                  <c:v>53</c:v>
                </c:pt>
                <c:pt idx="35">
                  <c:v>54</c:v>
                </c:pt>
                <c:pt idx="36">
                  <c:v>56</c:v>
                </c:pt>
                <c:pt idx="37">
                  <c:v>54</c:v>
                </c:pt>
                <c:pt idx="38">
                  <c:v>59</c:v>
                </c:pt>
                <c:pt idx="39">
                  <c:v>62</c:v>
                </c:pt>
                <c:pt idx="40">
                  <c:v>56</c:v>
                </c:pt>
                <c:pt idx="41">
                  <c:v>56</c:v>
                </c:pt>
                <c:pt idx="42">
                  <c:v>57</c:v>
                </c:pt>
                <c:pt idx="43">
                  <c:v>56</c:v>
                </c:pt>
                <c:pt idx="44">
                  <c:v>61</c:v>
                </c:pt>
                <c:pt idx="45">
                  <c:v>60</c:v>
                </c:pt>
                <c:pt idx="46">
                  <c:v>62</c:v>
                </c:pt>
                <c:pt idx="47">
                  <c:v>70</c:v>
                </c:pt>
                <c:pt idx="48">
                  <c:v>71</c:v>
                </c:pt>
                <c:pt idx="49">
                  <c:v>64</c:v>
                </c:pt>
                <c:pt idx="50">
                  <c:v>65</c:v>
                </c:pt>
                <c:pt idx="51">
                  <c:v>63</c:v>
                </c:pt>
                <c:pt idx="52">
                  <c:v>67</c:v>
                </c:pt>
                <c:pt idx="53">
                  <c:v>67</c:v>
                </c:pt>
                <c:pt idx="54">
                  <c:v>73</c:v>
                </c:pt>
                <c:pt idx="55">
                  <c:v>70</c:v>
                </c:pt>
                <c:pt idx="56">
                  <c:v>71</c:v>
                </c:pt>
                <c:pt idx="57">
                  <c:v>75</c:v>
                </c:pt>
                <c:pt idx="58">
                  <c:v>76</c:v>
                </c:pt>
                <c:pt idx="59">
                  <c:v>85</c:v>
                </c:pt>
                <c:pt idx="60">
                  <c:v>80</c:v>
                </c:pt>
                <c:pt idx="61">
                  <c:v>87</c:v>
                </c:pt>
                <c:pt idx="62">
                  <c:v>92</c:v>
                </c:pt>
                <c:pt idx="63">
                  <c:v>96</c:v>
                </c:pt>
                <c:pt idx="64">
                  <c:v>97</c:v>
                </c:pt>
                <c:pt idx="65">
                  <c:v>102</c:v>
                </c:pt>
                <c:pt idx="66">
                  <c:v>104</c:v>
                </c:pt>
                <c:pt idx="67">
                  <c:v>115</c:v>
                </c:pt>
                <c:pt idx="68">
                  <c:v>113</c:v>
                </c:pt>
                <c:pt idx="69">
                  <c:v>120</c:v>
                </c:pt>
                <c:pt idx="70">
                  <c:v>121</c:v>
                </c:pt>
                <c:pt idx="71">
                  <c:v>123</c:v>
                </c:pt>
                <c:pt idx="72">
                  <c:v>126</c:v>
                </c:pt>
                <c:pt idx="73">
                  <c:v>128</c:v>
                </c:pt>
                <c:pt idx="74">
                  <c:v>128</c:v>
                </c:pt>
                <c:pt idx="75">
                  <c:v>131</c:v>
                </c:pt>
                <c:pt idx="76">
                  <c:v>130</c:v>
                </c:pt>
                <c:pt idx="77">
                  <c:v>127</c:v>
                </c:pt>
                <c:pt idx="78">
                  <c:v>111</c:v>
                </c:pt>
                <c:pt idx="79">
                  <c:v>115</c:v>
                </c:pt>
                <c:pt idx="80">
                  <c:v>111</c:v>
                </c:pt>
                <c:pt idx="81">
                  <c:v>112</c:v>
                </c:pt>
                <c:pt idx="82">
                  <c:v>109</c:v>
                </c:pt>
                <c:pt idx="83">
                  <c:v>109</c:v>
                </c:pt>
                <c:pt idx="84">
                  <c:v>106</c:v>
                </c:pt>
                <c:pt idx="85">
                  <c:v>104</c:v>
                </c:pt>
                <c:pt idx="86">
                  <c:v>100</c:v>
                </c:pt>
                <c:pt idx="87">
                  <c:v>105</c:v>
                </c:pt>
                <c:pt idx="88">
                  <c:v>105</c:v>
                </c:pt>
                <c:pt idx="89">
                  <c:v>101</c:v>
                </c:pt>
                <c:pt idx="90">
                  <c:v>87</c:v>
                </c:pt>
                <c:pt idx="91">
                  <c:v>86</c:v>
                </c:pt>
                <c:pt idx="92">
                  <c:v>95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21.57251936721823</c:v>
                </c:pt>
                <c:pt idx="71">
                  <c:v>119.0463380856438</c:v>
                </c:pt>
                <c:pt idx="72">
                  <c:v>116.46087909311079</c:v>
                </c:pt>
                <c:pt idx="73">
                  <c:v>113.82662306519384</c:v>
                </c:pt>
                <c:pt idx="74">
                  <c:v>111.15409989495147</c:v>
                </c:pt>
                <c:pt idx="75">
                  <c:v>108.42358136399838</c:v>
                </c:pt>
                <c:pt idx="76">
                  <c:v>105.69480542400484</c:v>
                </c:pt>
                <c:pt idx="77">
                  <c:v>102.97578784673368</c:v>
                </c:pt>
                <c:pt idx="78">
                  <c:v>100.19234851243706</c:v>
                </c:pt>
                <c:pt idx="79">
                  <c:v>97.372481671508282</c:v>
                </c:pt>
                <c:pt idx="80">
                  <c:v>94.485321148714149</c:v>
                </c:pt>
                <c:pt idx="81">
                  <c:v>91.543365915580523</c:v>
                </c:pt>
                <c:pt idx="82">
                  <c:v>88.627926979827848</c:v>
                </c:pt>
                <c:pt idx="83">
                  <c:v>85.726685320584835</c:v>
                </c:pt>
                <c:pt idx="84">
                  <c:v>82.884693468700689</c:v>
                </c:pt>
                <c:pt idx="85">
                  <c:v>80.086470590764179</c:v>
                </c:pt>
                <c:pt idx="86">
                  <c:v>77.327636098831206</c:v>
                </c:pt>
                <c:pt idx="87">
                  <c:v>74.609230041159094</c:v>
                </c:pt>
                <c:pt idx="88">
                  <c:v>71.93825190653078</c:v>
                </c:pt>
                <c:pt idx="89">
                  <c:v>69.334155250503386</c:v>
                </c:pt>
                <c:pt idx="90">
                  <c:v>66.807604111133017</c:v>
                </c:pt>
                <c:pt idx="91">
                  <c:v>64.367021733100302</c:v>
                </c:pt>
                <c:pt idx="92">
                  <c:v>61.998686023899204</c:v>
                </c:pt>
                <c:pt idx="93">
                  <c:v>59.6901955480807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9CD-43F7-81E5-3303221A3D3F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21.88284995514522</c:v>
                </c:pt>
                <c:pt idx="71">
                  <c:v>119.80056894722021</c:v>
                </c:pt>
                <c:pt idx="72">
                  <c:v>117.76543271252156</c:v>
                </c:pt>
                <c:pt idx="73">
                  <c:v>115.79424198805046</c:v>
                </c:pt>
                <c:pt idx="74">
                  <c:v>113.89716679929089</c:v>
                </c:pt>
                <c:pt idx="75">
                  <c:v>112.03374196850218</c:v>
                </c:pt>
                <c:pt idx="76">
                  <c:v>110.2510428152153</c:v>
                </c:pt>
                <c:pt idx="77">
                  <c:v>108.54534505552945</c:v>
                </c:pt>
                <c:pt idx="78">
                  <c:v>106.8402101421739</c:v>
                </c:pt>
                <c:pt idx="79">
                  <c:v>105.14963513914422</c:v>
                </c:pt>
                <c:pt idx="80">
                  <c:v>103.42929206457171</c:v>
                </c:pt>
                <c:pt idx="81">
                  <c:v>101.67646082108593</c:v>
                </c:pt>
                <c:pt idx="82">
                  <c:v>99.955526904053613</c:v>
                </c:pt>
                <c:pt idx="83">
                  <c:v>98.244374597219633</c:v>
                </c:pt>
                <c:pt idx="84">
                  <c:v>96.581167770120118</c:v>
                </c:pt>
                <c:pt idx="85">
                  <c:v>94.942310311757211</c:v>
                </c:pt>
                <c:pt idx="86">
                  <c:v>93.318793494981549</c:v>
                </c:pt>
                <c:pt idx="87">
                  <c:v>91.705467739557122</c:v>
                </c:pt>
                <c:pt idx="88">
                  <c:v>90.104926398322363</c:v>
                </c:pt>
                <c:pt idx="89">
                  <c:v>88.532513543834611</c:v>
                </c:pt>
                <c:pt idx="90">
                  <c:v>86.995140021507723</c:v>
                </c:pt>
                <c:pt idx="91">
                  <c:v>85.498128499736168</c:v>
                </c:pt>
                <c:pt idx="92">
                  <c:v>84.026761947908255</c:v>
                </c:pt>
                <c:pt idx="93">
                  <c:v>82.5666852633493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9CD-43F7-81E5-3303221A3D3F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24.32069517676861</c:v>
                </c:pt>
                <c:pt idx="71">
                  <c:v>124.75572880709713</c:v>
                </c:pt>
                <c:pt idx="72">
                  <c:v>125.28056427953905</c:v>
                </c:pt>
                <c:pt idx="73">
                  <c:v>125.91788644577676</c:v>
                </c:pt>
                <c:pt idx="74">
                  <c:v>126.69100979024404</c:v>
                </c:pt>
                <c:pt idx="75">
                  <c:v>127.56100706388787</c:v>
                </c:pt>
                <c:pt idx="76">
                  <c:v>128.5437299362913</c:v>
                </c:pt>
                <c:pt idx="77">
                  <c:v>129.63362227220478</c:v>
                </c:pt>
                <c:pt idx="78">
                  <c:v>130.8046889372103</c:v>
                </c:pt>
                <c:pt idx="79">
                  <c:v>132.06633027408921</c:v>
                </c:pt>
                <c:pt idx="80">
                  <c:v>133.37276269434105</c:v>
                </c:pt>
                <c:pt idx="81">
                  <c:v>134.70741186788206</c:v>
                </c:pt>
                <c:pt idx="82">
                  <c:v>136.10426223485311</c:v>
                </c:pt>
                <c:pt idx="83">
                  <c:v>137.54968561038856</c:v>
                </c:pt>
                <c:pt idx="84">
                  <c:v>139.07615478990556</c:v>
                </c:pt>
                <c:pt idx="85">
                  <c:v>140.64490023293584</c:v>
                </c:pt>
                <c:pt idx="86">
                  <c:v>142.24421728354994</c:v>
                </c:pt>
                <c:pt idx="87">
                  <c:v>143.88910983563179</c:v>
                </c:pt>
                <c:pt idx="88">
                  <c:v>145.67203806511259</c:v>
                </c:pt>
                <c:pt idx="89">
                  <c:v>147.58860202195197</c:v>
                </c:pt>
                <c:pt idx="90">
                  <c:v>149.64089944800071</c:v>
                </c:pt>
                <c:pt idx="91">
                  <c:v>151.82059859504039</c:v>
                </c:pt>
                <c:pt idx="92">
                  <c:v>154.11514843157249</c:v>
                </c:pt>
                <c:pt idx="93">
                  <c:v>156.506295244275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9CD-43F7-81E5-3303221A3D3F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124.42094615219482</c:v>
                </c:pt>
                <c:pt idx="71">
                  <c:v>125.00472957735666</c:v>
                </c:pt>
                <c:pt idx="72">
                  <c:v>125.72481477785298</c:v>
                </c:pt>
                <c:pt idx="73">
                  <c:v>126.60883260554024</c:v>
                </c:pt>
                <c:pt idx="74">
                  <c:v>127.68384776114088</c:v>
                </c:pt>
                <c:pt idx="75">
                  <c:v>128.90241993146913</c:v>
                </c:pt>
                <c:pt idx="76">
                  <c:v>130.27771359915832</c:v>
                </c:pt>
                <c:pt idx="77">
                  <c:v>131.80431297038231</c:v>
                </c:pt>
                <c:pt idx="78">
                  <c:v>133.46330056251895</c:v>
                </c:pt>
                <c:pt idx="79">
                  <c:v>135.26330277462074</c:v>
                </c:pt>
                <c:pt idx="80">
                  <c:v>137.155977807927</c:v>
                </c:pt>
                <c:pt idx="81">
                  <c:v>139.12057922479232</c:v>
                </c:pt>
                <c:pt idx="82">
                  <c:v>141.30534330682318</c:v>
                </c:pt>
                <c:pt idx="83">
                  <c:v>143.73197796770032</c:v>
                </c:pt>
                <c:pt idx="84">
                  <c:v>146.43253352497021</c:v>
                </c:pt>
                <c:pt idx="85">
                  <c:v>149.35926734507819</c:v>
                </c:pt>
                <c:pt idx="86">
                  <c:v>152.49294213231212</c:v>
                </c:pt>
                <c:pt idx="87">
                  <c:v>155.80733311186171</c:v>
                </c:pt>
                <c:pt idx="88">
                  <c:v>159.31248044513671</c:v>
                </c:pt>
                <c:pt idx="89">
                  <c:v>163.00512452633768</c:v>
                </c:pt>
                <c:pt idx="90">
                  <c:v>166.89050808421968</c:v>
                </c:pt>
                <c:pt idx="91">
                  <c:v>170.96186286492377</c:v>
                </c:pt>
                <c:pt idx="92">
                  <c:v>175.20731326001828</c:v>
                </c:pt>
                <c:pt idx="93">
                  <c:v>179.60906015418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9CD-43F7-81E5-3303221A3D3F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2</c:v>
                </c:pt>
                <c:pt idx="1">
                  <c:v>72</c:v>
                </c:pt>
                <c:pt idx="2">
                  <c:v>72</c:v>
                </c:pt>
                <c:pt idx="3">
                  <c:v>72</c:v>
                </c:pt>
                <c:pt idx="4">
                  <c:v>72</c:v>
                </c:pt>
                <c:pt idx="5">
                  <c:v>72</c:v>
                </c:pt>
                <c:pt idx="6">
                  <c:v>72</c:v>
                </c:pt>
                <c:pt idx="7">
                  <c:v>72</c:v>
                </c:pt>
                <c:pt idx="8">
                  <c:v>72</c:v>
                </c:pt>
                <c:pt idx="9">
                  <c:v>72</c:v>
                </c:pt>
                <c:pt idx="10">
                  <c:v>72</c:v>
                </c:pt>
                <c:pt idx="11">
                  <c:v>72</c:v>
                </c:pt>
                <c:pt idx="12">
                  <c:v>72</c:v>
                </c:pt>
                <c:pt idx="13">
                  <c:v>72</c:v>
                </c:pt>
                <c:pt idx="14">
                  <c:v>72</c:v>
                </c:pt>
                <c:pt idx="15">
                  <c:v>72</c:v>
                </c:pt>
                <c:pt idx="16">
                  <c:v>72</c:v>
                </c:pt>
                <c:pt idx="17">
                  <c:v>72</c:v>
                </c:pt>
                <c:pt idx="18">
                  <c:v>72</c:v>
                </c:pt>
                <c:pt idx="19">
                  <c:v>72</c:v>
                </c:pt>
                <c:pt idx="20">
                  <c:v>72</c:v>
                </c:pt>
                <c:pt idx="21">
                  <c:v>72</c:v>
                </c:pt>
                <c:pt idx="22">
                  <c:v>72</c:v>
                </c:pt>
                <c:pt idx="23">
                  <c:v>72</c:v>
                </c:pt>
                <c:pt idx="24">
                  <c:v>72</c:v>
                </c:pt>
                <c:pt idx="25">
                  <c:v>72</c:v>
                </c:pt>
                <c:pt idx="26">
                  <c:v>72</c:v>
                </c:pt>
                <c:pt idx="27">
                  <c:v>72</c:v>
                </c:pt>
                <c:pt idx="28">
                  <c:v>72</c:v>
                </c:pt>
                <c:pt idx="29">
                  <c:v>72</c:v>
                </c:pt>
                <c:pt idx="30">
                  <c:v>72</c:v>
                </c:pt>
                <c:pt idx="31">
                  <c:v>72</c:v>
                </c:pt>
                <c:pt idx="32">
                  <c:v>72</c:v>
                </c:pt>
                <c:pt idx="33">
                  <c:v>72</c:v>
                </c:pt>
                <c:pt idx="34">
                  <c:v>72</c:v>
                </c:pt>
                <c:pt idx="35">
                  <c:v>72</c:v>
                </c:pt>
                <c:pt idx="36">
                  <c:v>72</c:v>
                </c:pt>
                <c:pt idx="37">
                  <c:v>72</c:v>
                </c:pt>
                <c:pt idx="38">
                  <c:v>72</c:v>
                </c:pt>
                <c:pt idx="39">
                  <c:v>72</c:v>
                </c:pt>
                <c:pt idx="40">
                  <c:v>72</c:v>
                </c:pt>
                <c:pt idx="41">
                  <c:v>72</c:v>
                </c:pt>
                <c:pt idx="42">
                  <c:v>72</c:v>
                </c:pt>
                <c:pt idx="43">
                  <c:v>72</c:v>
                </c:pt>
                <c:pt idx="44">
                  <c:v>72</c:v>
                </c:pt>
                <c:pt idx="45">
                  <c:v>72</c:v>
                </c:pt>
                <c:pt idx="46">
                  <c:v>72</c:v>
                </c:pt>
                <c:pt idx="47">
                  <c:v>72</c:v>
                </c:pt>
                <c:pt idx="48">
                  <c:v>72</c:v>
                </c:pt>
                <c:pt idx="49">
                  <c:v>72</c:v>
                </c:pt>
                <c:pt idx="50">
                  <c:v>72</c:v>
                </c:pt>
                <c:pt idx="51">
                  <c:v>72</c:v>
                </c:pt>
                <c:pt idx="52">
                  <c:v>72</c:v>
                </c:pt>
                <c:pt idx="53">
                  <c:v>72</c:v>
                </c:pt>
                <c:pt idx="54">
                  <c:v>72</c:v>
                </c:pt>
                <c:pt idx="55">
                  <c:v>72</c:v>
                </c:pt>
                <c:pt idx="56">
                  <c:v>72</c:v>
                </c:pt>
                <c:pt idx="57">
                  <c:v>72</c:v>
                </c:pt>
                <c:pt idx="58">
                  <c:v>72</c:v>
                </c:pt>
                <c:pt idx="59">
                  <c:v>72</c:v>
                </c:pt>
                <c:pt idx="60">
                  <c:v>72</c:v>
                </c:pt>
                <c:pt idx="61">
                  <c:v>72</c:v>
                </c:pt>
                <c:pt idx="62">
                  <c:v>72</c:v>
                </c:pt>
                <c:pt idx="63">
                  <c:v>72</c:v>
                </c:pt>
                <c:pt idx="64">
                  <c:v>72</c:v>
                </c:pt>
                <c:pt idx="65">
                  <c:v>72</c:v>
                </c:pt>
                <c:pt idx="66">
                  <c:v>72</c:v>
                </c:pt>
                <c:pt idx="67">
                  <c:v>72</c:v>
                </c:pt>
                <c:pt idx="68">
                  <c:v>72</c:v>
                </c:pt>
                <c:pt idx="69">
                  <c:v>72</c:v>
                </c:pt>
                <c:pt idx="70">
                  <c:v>72</c:v>
                </c:pt>
                <c:pt idx="71">
                  <c:v>72</c:v>
                </c:pt>
                <c:pt idx="72">
                  <c:v>72</c:v>
                </c:pt>
                <c:pt idx="73">
                  <c:v>72</c:v>
                </c:pt>
                <c:pt idx="74">
                  <c:v>72</c:v>
                </c:pt>
                <c:pt idx="75">
                  <c:v>72</c:v>
                </c:pt>
                <c:pt idx="76">
                  <c:v>72</c:v>
                </c:pt>
                <c:pt idx="77">
                  <c:v>72</c:v>
                </c:pt>
                <c:pt idx="78">
                  <c:v>72</c:v>
                </c:pt>
                <c:pt idx="79">
                  <c:v>72</c:v>
                </c:pt>
                <c:pt idx="80">
                  <c:v>72</c:v>
                </c:pt>
                <c:pt idx="81">
                  <c:v>72</c:v>
                </c:pt>
                <c:pt idx="82">
                  <c:v>72</c:v>
                </c:pt>
                <c:pt idx="83">
                  <c:v>72</c:v>
                </c:pt>
                <c:pt idx="84">
                  <c:v>72</c:v>
                </c:pt>
                <c:pt idx="85">
                  <c:v>72</c:v>
                </c:pt>
                <c:pt idx="86">
                  <c:v>72</c:v>
                </c:pt>
                <c:pt idx="87">
                  <c:v>72</c:v>
                </c:pt>
                <c:pt idx="88">
                  <c:v>72</c:v>
                </c:pt>
                <c:pt idx="89">
                  <c:v>72</c:v>
                </c:pt>
                <c:pt idx="90">
                  <c:v>72</c:v>
                </c:pt>
                <c:pt idx="91">
                  <c:v>72</c:v>
                </c:pt>
                <c:pt idx="92">
                  <c:v>72</c:v>
                </c:pt>
                <c:pt idx="93">
                  <c:v>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6</c:v>
                </c:pt>
                <c:pt idx="1">
                  <c:v>45</c:v>
                </c:pt>
                <c:pt idx="2">
                  <c:v>49</c:v>
                </c:pt>
                <c:pt idx="3">
                  <c:v>48</c:v>
                </c:pt>
                <c:pt idx="4">
                  <c:v>51</c:v>
                </c:pt>
                <c:pt idx="5">
                  <c:v>50</c:v>
                </c:pt>
                <c:pt idx="6">
                  <c:v>55</c:v>
                </c:pt>
                <c:pt idx="7">
                  <c:v>53</c:v>
                </c:pt>
                <c:pt idx="8">
                  <c:v>56</c:v>
                </c:pt>
                <c:pt idx="9">
                  <c:v>56</c:v>
                </c:pt>
                <c:pt idx="10">
                  <c:v>53</c:v>
                </c:pt>
                <c:pt idx="11">
                  <c:v>57</c:v>
                </c:pt>
                <c:pt idx="12">
                  <c:v>51</c:v>
                </c:pt>
                <c:pt idx="13">
                  <c:v>51</c:v>
                </c:pt>
                <c:pt idx="14">
                  <c:v>55</c:v>
                </c:pt>
                <c:pt idx="15">
                  <c:v>55</c:v>
                </c:pt>
                <c:pt idx="16">
                  <c:v>57</c:v>
                </c:pt>
                <c:pt idx="17">
                  <c:v>55</c:v>
                </c:pt>
                <c:pt idx="18">
                  <c:v>52</c:v>
                </c:pt>
                <c:pt idx="19">
                  <c:v>54</c:v>
                </c:pt>
                <c:pt idx="20">
                  <c:v>56</c:v>
                </c:pt>
                <c:pt idx="21">
                  <c:v>56</c:v>
                </c:pt>
                <c:pt idx="22">
                  <c:v>58</c:v>
                </c:pt>
                <c:pt idx="23">
                  <c:v>54</c:v>
                </c:pt>
                <c:pt idx="24">
                  <c:v>53</c:v>
                </c:pt>
                <c:pt idx="25">
                  <c:v>60</c:v>
                </c:pt>
                <c:pt idx="26">
                  <c:v>59</c:v>
                </c:pt>
                <c:pt idx="27">
                  <c:v>56</c:v>
                </c:pt>
                <c:pt idx="28">
                  <c:v>62</c:v>
                </c:pt>
                <c:pt idx="29">
                  <c:v>66</c:v>
                </c:pt>
                <c:pt idx="30">
                  <c:v>69</c:v>
                </c:pt>
                <c:pt idx="31">
                  <c:v>66</c:v>
                </c:pt>
                <c:pt idx="32">
                  <c:v>64</c:v>
                </c:pt>
                <c:pt idx="33">
                  <c:v>68</c:v>
                </c:pt>
                <c:pt idx="34">
                  <c:v>68</c:v>
                </c:pt>
                <c:pt idx="35">
                  <c:v>69</c:v>
                </c:pt>
                <c:pt idx="36">
                  <c:v>66</c:v>
                </c:pt>
                <c:pt idx="37">
                  <c:v>65</c:v>
                </c:pt>
                <c:pt idx="38">
                  <c:v>65</c:v>
                </c:pt>
                <c:pt idx="39">
                  <c:v>63</c:v>
                </c:pt>
                <c:pt idx="40">
                  <c:v>69</c:v>
                </c:pt>
                <c:pt idx="41">
                  <c:v>74</c:v>
                </c:pt>
                <c:pt idx="42">
                  <c:v>65</c:v>
                </c:pt>
                <c:pt idx="43">
                  <c:v>73</c:v>
                </c:pt>
                <c:pt idx="44">
                  <c:v>78</c:v>
                </c:pt>
                <c:pt idx="45">
                  <c:v>84</c:v>
                </c:pt>
                <c:pt idx="46">
                  <c:v>85</c:v>
                </c:pt>
                <c:pt idx="47">
                  <c:v>90</c:v>
                </c:pt>
                <c:pt idx="48">
                  <c:v>90</c:v>
                </c:pt>
                <c:pt idx="49">
                  <c:v>94</c:v>
                </c:pt>
                <c:pt idx="50">
                  <c:v>91</c:v>
                </c:pt>
                <c:pt idx="51">
                  <c:v>91</c:v>
                </c:pt>
                <c:pt idx="52">
                  <c:v>95</c:v>
                </c:pt>
                <c:pt idx="53">
                  <c:v>99</c:v>
                </c:pt>
                <c:pt idx="54">
                  <c:v>95</c:v>
                </c:pt>
                <c:pt idx="55">
                  <c:v>102</c:v>
                </c:pt>
                <c:pt idx="56">
                  <c:v>111</c:v>
                </c:pt>
                <c:pt idx="57">
                  <c:v>107</c:v>
                </c:pt>
                <c:pt idx="58">
                  <c:v>102</c:v>
                </c:pt>
                <c:pt idx="59">
                  <c:v>112</c:v>
                </c:pt>
                <c:pt idx="60">
                  <c:v>119</c:v>
                </c:pt>
                <c:pt idx="61">
                  <c:v>119</c:v>
                </c:pt>
                <c:pt idx="62">
                  <c:v>121</c:v>
                </c:pt>
                <c:pt idx="63">
                  <c:v>126</c:v>
                </c:pt>
                <c:pt idx="64">
                  <c:v>130</c:v>
                </c:pt>
                <c:pt idx="65">
                  <c:v>125</c:v>
                </c:pt>
                <c:pt idx="66">
                  <c:v>128</c:v>
                </c:pt>
                <c:pt idx="67">
                  <c:v>126</c:v>
                </c:pt>
                <c:pt idx="68">
                  <c:v>137</c:v>
                </c:pt>
                <c:pt idx="69">
                  <c:v>130</c:v>
                </c:pt>
                <c:pt idx="70">
                  <c:v>128</c:v>
                </c:pt>
                <c:pt idx="71">
                  <c:v>125</c:v>
                </c:pt>
                <c:pt idx="72">
                  <c:v>125</c:v>
                </c:pt>
                <c:pt idx="73">
                  <c:v>127</c:v>
                </c:pt>
                <c:pt idx="74">
                  <c:v>134</c:v>
                </c:pt>
                <c:pt idx="75">
                  <c:v>131</c:v>
                </c:pt>
                <c:pt idx="76">
                  <c:v>129</c:v>
                </c:pt>
                <c:pt idx="77">
                  <c:v>126</c:v>
                </c:pt>
                <c:pt idx="78">
                  <c:v>117</c:v>
                </c:pt>
                <c:pt idx="79">
                  <c:v>116</c:v>
                </c:pt>
                <c:pt idx="80">
                  <c:v>120</c:v>
                </c:pt>
                <c:pt idx="81">
                  <c:v>113</c:v>
                </c:pt>
                <c:pt idx="82">
                  <c:v>119</c:v>
                </c:pt>
                <c:pt idx="83">
                  <c:v>113</c:v>
                </c:pt>
                <c:pt idx="84">
                  <c:v>108</c:v>
                </c:pt>
                <c:pt idx="85">
                  <c:v>109</c:v>
                </c:pt>
                <c:pt idx="86">
                  <c:v>102</c:v>
                </c:pt>
                <c:pt idx="87">
                  <c:v>99</c:v>
                </c:pt>
                <c:pt idx="88">
                  <c:v>97</c:v>
                </c:pt>
                <c:pt idx="89">
                  <c:v>93</c:v>
                </c:pt>
                <c:pt idx="90">
                  <c:v>97</c:v>
                </c:pt>
                <c:pt idx="91">
                  <c:v>91</c:v>
                </c:pt>
                <c:pt idx="92">
                  <c:v>92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30.24162144807946</c:v>
                </c:pt>
                <c:pt idx="71">
                  <c:v>127.55912071186565</c:v>
                </c:pt>
                <c:pt idx="72">
                  <c:v>124.81105973096366</c:v>
                </c:pt>
                <c:pt idx="73">
                  <c:v>122.00801115529474</c:v>
                </c:pt>
                <c:pt idx="74">
                  <c:v>119.15927125632611</c:v>
                </c:pt>
                <c:pt idx="75">
                  <c:v>116.24627897728902</c:v>
                </c:pt>
                <c:pt idx="76">
                  <c:v>113.3345255217874</c:v>
                </c:pt>
                <c:pt idx="77">
                  <c:v>110.42992529754115</c:v>
                </c:pt>
                <c:pt idx="78">
                  <c:v>107.4554021344634</c:v>
                </c:pt>
                <c:pt idx="79">
                  <c:v>104.43872910359008</c:v>
                </c:pt>
                <c:pt idx="80">
                  <c:v>101.34840310886771</c:v>
                </c:pt>
                <c:pt idx="81">
                  <c:v>98.198745339028264</c:v>
                </c:pt>
                <c:pt idx="82">
                  <c:v>95.076463193854735</c:v>
                </c:pt>
                <c:pt idx="83">
                  <c:v>91.968849317794223</c:v>
                </c:pt>
                <c:pt idx="84">
                  <c:v>88.923350767830954</c:v>
                </c:pt>
                <c:pt idx="85">
                  <c:v>85.923727287142697</c:v>
                </c:pt>
                <c:pt idx="86">
                  <c:v>82.965195574127051</c:v>
                </c:pt>
                <c:pt idx="87">
                  <c:v>80.049010494319248</c:v>
                </c:pt>
                <c:pt idx="88">
                  <c:v>77.183382575232756</c:v>
                </c:pt>
                <c:pt idx="89">
                  <c:v>74.388767506757119</c:v>
                </c:pt>
                <c:pt idx="90">
                  <c:v>71.676771561624207</c:v>
                </c:pt>
                <c:pt idx="91">
                  <c:v>69.056102635006681</c:v>
                </c:pt>
                <c:pt idx="92">
                  <c:v>66.512469775075033</c:v>
                </c:pt>
                <c:pt idx="93">
                  <c:v>64.0329674042326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C9-4E23-AC01-F7159651108E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30.57621549770005</c:v>
                </c:pt>
                <c:pt idx="71">
                  <c:v>128.37213324960351</c:v>
                </c:pt>
                <c:pt idx="72">
                  <c:v>126.21723113443275</c:v>
                </c:pt>
                <c:pt idx="73">
                  <c:v>124.12868894055546</c:v>
                </c:pt>
                <c:pt idx="74">
                  <c:v>122.11551668865704</c:v>
                </c:pt>
                <c:pt idx="75">
                  <c:v>120.13668488407889</c:v>
                </c:pt>
                <c:pt idx="76">
                  <c:v>118.24394831641393</c:v>
                </c:pt>
                <c:pt idx="77">
                  <c:v>116.43039681086762</c:v>
                </c:pt>
                <c:pt idx="78">
                  <c:v>114.61658834534956</c:v>
                </c:pt>
                <c:pt idx="79">
                  <c:v>112.81527553554412</c:v>
                </c:pt>
                <c:pt idx="80">
                  <c:v>110.98052131387229</c:v>
                </c:pt>
                <c:pt idx="81">
                  <c:v>109.11027630289077</c:v>
                </c:pt>
                <c:pt idx="82">
                  <c:v>107.27300483980387</c:v>
                </c:pt>
                <c:pt idx="83">
                  <c:v>105.44556811164455</c:v>
                </c:pt>
                <c:pt idx="84">
                  <c:v>103.66800430486781</c:v>
                </c:pt>
                <c:pt idx="85">
                  <c:v>101.91533050391438</c:v>
                </c:pt>
                <c:pt idx="86">
                  <c:v>100.17779993081412</c:v>
                </c:pt>
                <c:pt idx="87">
                  <c:v>98.450042965122151</c:v>
                </c:pt>
                <c:pt idx="88">
                  <c:v>96.735480714056308</c:v>
                </c:pt>
                <c:pt idx="89">
                  <c:v>95.050202737344335</c:v>
                </c:pt>
                <c:pt idx="90">
                  <c:v>93.401756060316799</c:v>
                </c:pt>
                <c:pt idx="91">
                  <c:v>91.795554588368361</c:v>
                </c:pt>
                <c:pt idx="92">
                  <c:v>90.216213080090199</c:v>
                </c:pt>
                <c:pt idx="93">
                  <c:v>88.6487538236076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C9-4E23-AC01-F7159651108E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33.11359631767957</c:v>
                </c:pt>
                <c:pt idx="71">
                  <c:v>133.54270075298541</c:v>
                </c:pt>
                <c:pt idx="72">
                  <c:v>134.07753376755022</c:v>
                </c:pt>
                <c:pt idx="73">
                  <c:v>134.74231819136176</c:v>
                </c:pt>
                <c:pt idx="74">
                  <c:v>135.56023070281458</c:v>
                </c:pt>
                <c:pt idx="75">
                  <c:v>136.48929761300263</c:v>
                </c:pt>
                <c:pt idx="76">
                  <c:v>137.54799168630666</c:v>
                </c:pt>
                <c:pt idx="77">
                  <c:v>138.72681271908874</c:v>
                </c:pt>
                <c:pt idx="78">
                  <c:v>139.99911270707014</c:v>
                </c:pt>
                <c:pt idx="79">
                  <c:v>141.37212910114209</c:v>
                </c:pt>
                <c:pt idx="80">
                  <c:v>142.79741118042568</c:v>
                </c:pt>
                <c:pt idx="81">
                  <c:v>144.25716722531314</c:v>
                </c:pt>
                <c:pt idx="82">
                  <c:v>145.78712595959718</c:v>
                </c:pt>
                <c:pt idx="83">
                  <c:v>147.37253891086098</c:v>
                </c:pt>
                <c:pt idx="84">
                  <c:v>149.04740546057599</c:v>
                </c:pt>
                <c:pt idx="85">
                  <c:v>150.77053170747502</c:v>
                </c:pt>
                <c:pt idx="86">
                  <c:v>152.52886837919399</c:v>
                </c:pt>
                <c:pt idx="87">
                  <c:v>154.33713894101956</c:v>
                </c:pt>
                <c:pt idx="88">
                  <c:v>156.29067391016929</c:v>
                </c:pt>
                <c:pt idx="89">
                  <c:v>158.38511326268292</c:v>
                </c:pt>
                <c:pt idx="90">
                  <c:v>160.62273963617196</c:v>
                </c:pt>
                <c:pt idx="91">
                  <c:v>162.99467417711827</c:v>
                </c:pt>
                <c:pt idx="92">
                  <c:v>165.48740911139029</c:v>
                </c:pt>
                <c:pt idx="93">
                  <c:v>168.081749347465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FC9-4E23-AC01-F7159651108E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133.22443097379593</c:v>
                </c:pt>
                <c:pt idx="71">
                  <c:v>133.81798899459199</c:v>
                </c:pt>
                <c:pt idx="72">
                  <c:v>134.56868461172718</c:v>
                </c:pt>
                <c:pt idx="73">
                  <c:v>135.50620881373956</c:v>
                </c:pt>
                <c:pt idx="74">
                  <c:v>136.65788441257442</c:v>
                </c:pt>
                <c:pt idx="75">
                  <c:v>137.97232591528456</c:v>
                </c:pt>
                <c:pt idx="76">
                  <c:v>139.46503520801005</c:v>
                </c:pt>
                <c:pt idx="77">
                  <c:v>141.12666724463983</c:v>
                </c:pt>
                <c:pt idx="78">
                  <c:v>142.93839887346709</c:v>
                </c:pt>
                <c:pt idx="79">
                  <c:v>144.90661189498491</c:v>
                </c:pt>
                <c:pt idx="80">
                  <c:v>146.98002730307053</c:v>
                </c:pt>
                <c:pt idx="81">
                  <c:v>149.13624081345148</c:v>
                </c:pt>
                <c:pt idx="82">
                  <c:v>151.52819243840983</c:v>
                </c:pt>
                <c:pt idx="83">
                  <c:v>154.17756266941751</c:v>
                </c:pt>
                <c:pt idx="84">
                  <c:v>157.11807611476274</c:v>
                </c:pt>
                <c:pt idx="85">
                  <c:v>160.29925912181051</c:v>
                </c:pt>
                <c:pt idx="86">
                  <c:v>163.70026992457815</c:v>
                </c:pt>
                <c:pt idx="87">
                  <c:v>167.29333875062952</c:v>
                </c:pt>
                <c:pt idx="88">
                  <c:v>171.08906987633543</c:v>
                </c:pt>
                <c:pt idx="89">
                  <c:v>175.08440428990713</c:v>
                </c:pt>
                <c:pt idx="90">
                  <c:v>179.28490371806924</c:v>
                </c:pt>
                <c:pt idx="91">
                  <c:v>183.6833448397241</c:v>
                </c:pt>
                <c:pt idx="92">
                  <c:v>188.26692112096299</c:v>
                </c:pt>
                <c:pt idx="93">
                  <c:v>193.016919852191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C9-4E23-AC01-F7159651108E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5</c:v>
                </c:pt>
                <c:pt idx="1">
                  <c:v>55</c:v>
                </c:pt>
                <c:pt idx="2">
                  <c:v>55</c:v>
                </c:pt>
                <c:pt idx="3">
                  <c:v>55</c:v>
                </c:pt>
                <c:pt idx="4">
                  <c:v>55</c:v>
                </c:pt>
                <c:pt idx="5">
                  <c:v>55</c:v>
                </c:pt>
                <c:pt idx="6">
                  <c:v>55</c:v>
                </c:pt>
                <c:pt idx="7">
                  <c:v>55</c:v>
                </c:pt>
                <c:pt idx="8">
                  <c:v>55</c:v>
                </c:pt>
                <c:pt idx="9">
                  <c:v>55</c:v>
                </c:pt>
                <c:pt idx="10">
                  <c:v>55</c:v>
                </c:pt>
                <c:pt idx="11">
                  <c:v>55</c:v>
                </c:pt>
                <c:pt idx="12">
                  <c:v>55</c:v>
                </c:pt>
                <c:pt idx="13">
                  <c:v>55</c:v>
                </c:pt>
                <c:pt idx="14">
                  <c:v>55</c:v>
                </c:pt>
                <c:pt idx="15">
                  <c:v>55</c:v>
                </c:pt>
                <c:pt idx="16">
                  <c:v>55</c:v>
                </c:pt>
                <c:pt idx="17">
                  <c:v>55</c:v>
                </c:pt>
                <c:pt idx="18">
                  <c:v>55</c:v>
                </c:pt>
                <c:pt idx="19">
                  <c:v>55</c:v>
                </c:pt>
                <c:pt idx="20">
                  <c:v>55</c:v>
                </c:pt>
                <c:pt idx="21">
                  <c:v>55</c:v>
                </c:pt>
                <c:pt idx="22">
                  <c:v>55</c:v>
                </c:pt>
                <c:pt idx="23">
                  <c:v>55</c:v>
                </c:pt>
                <c:pt idx="24">
                  <c:v>55</c:v>
                </c:pt>
                <c:pt idx="25">
                  <c:v>55</c:v>
                </c:pt>
                <c:pt idx="26">
                  <c:v>55</c:v>
                </c:pt>
                <c:pt idx="27">
                  <c:v>55</c:v>
                </c:pt>
                <c:pt idx="28">
                  <c:v>55</c:v>
                </c:pt>
                <c:pt idx="29">
                  <c:v>55</c:v>
                </c:pt>
                <c:pt idx="30">
                  <c:v>55</c:v>
                </c:pt>
                <c:pt idx="31">
                  <c:v>55</c:v>
                </c:pt>
                <c:pt idx="32">
                  <c:v>55</c:v>
                </c:pt>
                <c:pt idx="33">
                  <c:v>55</c:v>
                </c:pt>
                <c:pt idx="34">
                  <c:v>55</c:v>
                </c:pt>
                <c:pt idx="35">
                  <c:v>55</c:v>
                </c:pt>
                <c:pt idx="36">
                  <c:v>55</c:v>
                </c:pt>
                <c:pt idx="37">
                  <c:v>55</c:v>
                </c:pt>
                <c:pt idx="38">
                  <c:v>55</c:v>
                </c:pt>
                <c:pt idx="39">
                  <c:v>55</c:v>
                </c:pt>
                <c:pt idx="40">
                  <c:v>55</c:v>
                </c:pt>
                <c:pt idx="41">
                  <c:v>55</c:v>
                </c:pt>
                <c:pt idx="42">
                  <c:v>55</c:v>
                </c:pt>
                <c:pt idx="43">
                  <c:v>55</c:v>
                </c:pt>
                <c:pt idx="44">
                  <c:v>55</c:v>
                </c:pt>
                <c:pt idx="45">
                  <c:v>55</c:v>
                </c:pt>
                <c:pt idx="46">
                  <c:v>55</c:v>
                </c:pt>
                <c:pt idx="47">
                  <c:v>55</c:v>
                </c:pt>
                <c:pt idx="48">
                  <c:v>55</c:v>
                </c:pt>
                <c:pt idx="49">
                  <c:v>55</c:v>
                </c:pt>
                <c:pt idx="50">
                  <c:v>55</c:v>
                </c:pt>
                <c:pt idx="51">
                  <c:v>55</c:v>
                </c:pt>
                <c:pt idx="52">
                  <c:v>55</c:v>
                </c:pt>
                <c:pt idx="53">
                  <c:v>55</c:v>
                </c:pt>
                <c:pt idx="54">
                  <c:v>55</c:v>
                </c:pt>
                <c:pt idx="55">
                  <c:v>55</c:v>
                </c:pt>
                <c:pt idx="56">
                  <c:v>55</c:v>
                </c:pt>
                <c:pt idx="57">
                  <c:v>55</c:v>
                </c:pt>
                <c:pt idx="58">
                  <c:v>55</c:v>
                </c:pt>
                <c:pt idx="59">
                  <c:v>55</c:v>
                </c:pt>
                <c:pt idx="60">
                  <c:v>55</c:v>
                </c:pt>
                <c:pt idx="61">
                  <c:v>55</c:v>
                </c:pt>
                <c:pt idx="62">
                  <c:v>55</c:v>
                </c:pt>
                <c:pt idx="63">
                  <c:v>55</c:v>
                </c:pt>
                <c:pt idx="64">
                  <c:v>55</c:v>
                </c:pt>
                <c:pt idx="65">
                  <c:v>55</c:v>
                </c:pt>
                <c:pt idx="66">
                  <c:v>55</c:v>
                </c:pt>
                <c:pt idx="67">
                  <c:v>55</c:v>
                </c:pt>
                <c:pt idx="68">
                  <c:v>55</c:v>
                </c:pt>
                <c:pt idx="69">
                  <c:v>55</c:v>
                </c:pt>
                <c:pt idx="70">
                  <c:v>55</c:v>
                </c:pt>
                <c:pt idx="71">
                  <c:v>55</c:v>
                </c:pt>
                <c:pt idx="72">
                  <c:v>55</c:v>
                </c:pt>
                <c:pt idx="73">
                  <c:v>55</c:v>
                </c:pt>
                <c:pt idx="74">
                  <c:v>55</c:v>
                </c:pt>
                <c:pt idx="75">
                  <c:v>55</c:v>
                </c:pt>
                <c:pt idx="76">
                  <c:v>55</c:v>
                </c:pt>
                <c:pt idx="77">
                  <c:v>55</c:v>
                </c:pt>
                <c:pt idx="78">
                  <c:v>55</c:v>
                </c:pt>
                <c:pt idx="79">
                  <c:v>55</c:v>
                </c:pt>
                <c:pt idx="80">
                  <c:v>55</c:v>
                </c:pt>
                <c:pt idx="81">
                  <c:v>55</c:v>
                </c:pt>
                <c:pt idx="82">
                  <c:v>55</c:v>
                </c:pt>
                <c:pt idx="83">
                  <c:v>55</c:v>
                </c:pt>
                <c:pt idx="84">
                  <c:v>55</c:v>
                </c:pt>
                <c:pt idx="85">
                  <c:v>55</c:v>
                </c:pt>
                <c:pt idx="86">
                  <c:v>55</c:v>
                </c:pt>
                <c:pt idx="87">
                  <c:v>55</c:v>
                </c:pt>
                <c:pt idx="88">
                  <c:v>55</c:v>
                </c:pt>
                <c:pt idx="89">
                  <c:v>55</c:v>
                </c:pt>
                <c:pt idx="90">
                  <c:v>55</c:v>
                </c:pt>
                <c:pt idx="91">
                  <c:v>55</c:v>
                </c:pt>
                <c:pt idx="92">
                  <c:v>55</c:v>
                </c:pt>
                <c:pt idx="93">
                  <c:v>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5</c:v>
                </c:pt>
                <c:pt idx="1">
                  <c:v>29</c:v>
                </c:pt>
                <c:pt idx="2">
                  <c:v>27</c:v>
                </c:pt>
                <c:pt idx="3">
                  <c:v>31</c:v>
                </c:pt>
                <c:pt idx="4">
                  <c:v>36</c:v>
                </c:pt>
                <c:pt idx="5">
                  <c:v>39</c:v>
                </c:pt>
                <c:pt idx="6">
                  <c:v>40</c:v>
                </c:pt>
                <c:pt idx="7">
                  <c:v>40</c:v>
                </c:pt>
                <c:pt idx="8">
                  <c:v>44</c:v>
                </c:pt>
                <c:pt idx="9">
                  <c:v>41</c:v>
                </c:pt>
                <c:pt idx="10">
                  <c:v>47</c:v>
                </c:pt>
                <c:pt idx="11">
                  <c:v>48</c:v>
                </c:pt>
                <c:pt idx="12">
                  <c:v>47</c:v>
                </c:pt>
                <c:pt idx="13">
                  <c:v>40</c:v>
                </c:pt>
                <c:pt idx="14">
                  <c:v>42</c:v>
                </c:pt>
                <c:pt idx="15">
                  <c:v>45</c:v>
                </c:pt>
                <c:pt idx="16">
                  <c:v>46</c:v>
                </c:pt>
                <c:pt idx="17">
                  <c:v>43</c:v>
                </c:pt>
                <c:pt idx="18">
                  <c:v>43</c:v>
                </c:pt>
                <c:pt idx="19">
                  <c:v>45</c:v>
                </c:pt>
                <c:pt idx="20">
                  <c:v>44</c:v>
                </c:pt>
                <c:pt idx="21">
                  <c:v>45</c:v>
                </c:pt>
                <c:pt idx="22">
                  <c:v>42</c:v>
                </c:pt>
                <c:pt idx="23">
                  <c:v>46</c:v>
                </c:pt>
                <c:pt idx="24">
                  <c:v>41</c:v>
                </c:pt>
                <c:pt idx="25">
                  <c:v>40</c:v>
                </c:pt>
                <c:pt idx="26">
                  <c:v>39</c:v>
                </c:pt>
                <c:pt idx="27">
                  <c:v>37</c:v>
                </c:pt>
                <c:pt idx="28">
                  <c:v>40</c:v>
                </c:pt>
                <c:pt idx="29">
                  <c:v>40</c:v>
                </c:pt>
                <c:pt idx="30">
                  <c:v>42</c:v>
                </c:pt>
                <c:pt idx="31">
                  <c:v>39</c:v>
                </c:pt>
                <c:pt idx="32">
                  <c:v>41</c:v>
                </c:pt>
                <c:pt idx="33">
                  <c:v>45</c:v>
                </c:pt>
                <c:pt idx="34">
                  <c:v>47</c:v>
                </c:pt>
                <c:pt idx="35">
                  <c:v>47</c:v>
                </c:pt>
                <c:pt idx="36">
                  <c:v>51</c:v>
                </c:pt>
                <c:pt idx="37">
                  <c:v>47</c:v>
                </c:pt>
                <c:pt idx="38">
                  <c:v>47</c:v>
                </c:pt>
                <c:pt idx="39">
                  <c:v>47</c:v>
                </c:pt>
                <c:pt idx="40">
                  <c:v>41</c:v>
                </c:pt>
                <c:pt idx="41">
                  <c:v>42</c:v>
                </c:pt>
                <c:pt idx="42">
                  <c:v>46</c:v>
                </c:pt>
                <c:pt idx="43">
                  <c:v>41</c:v>
                </c:pt>
                <c:pt idx="44">
                  <c:v>43</c:v>
                </c:pt>
                <c:pt idx="45">
                  <c:v>46</c:v>
                </c:pt>
                <c:pt idx="46">
                  <c:v>41</c:v>
                </c:pt>
                <c:pt idx="47">
                  <c:v>44</c:v>
                </c:pt>
                <c:pt idx="48">
                  <c:v>47</c:v>
                </c:pt>
                <c:pt idx="49">
                  <c:v>44</c:v>
                </c:pt>
                <c:pt idx="50">
                  <c:v>44</c:v>
                </c:pt>
                <c:pt idx="51">
                  <c:v>52</c:v>
                </c:pt>
                <c:pt idx="52">
                  <c:v>47</c:v>
                </c:pt>
                <c:pt idx="53">
                  <c:v>50</c:v>
                </c:pt>
                <c:pt idx="54">
                  <c:v>52</c:v>
                </c:pt>
                <c:pt idx="55">
                  <c:v>54</c:v>
                </c:pt>
                <c:pt idx="56">
                  <c:v>51</c:v>
                </c:pt>
                <c:pt idx="57">
                  <c:v>55</c:v>
                </c:pt>
                <c:pt idx="58">
                  <c:v>50</c:v>
                </c:pt>
                <c:pt idx="59">
                  <c:v>62</c:v>
                </c:pt>
                <c:pt idx="60">
                  <c:v>62</c:v>
                </c:pt>
                <c:pt idx="61">
                  <c:v>51</c:v>
                </c:pt>
                <c:pt idx="62">
                  <c:v>53</c:v>
                </c:pt>
                <c:pt idx="63">
                  <c:v>52</c:v>
                </c:pt>
                <c:pt idx="64">
                  <c:v>52</c:v>
                </c:pt>
                <c:pt idx="65">
                  <c:v>49</c:v>
                </c:pt>
                <c:pt idx="66">
                  <c:v>53</c:v>
                </c:pt>
                <c:pt idx="67">
                  <c:v>51</c:v>
                </c:pt>
                <c:pt idx="68">
                  <c:v>52</c:v>
                </c:pt>
                <c:pt idx="69">
                  <c:v>53</c:v>
                </c:pt>
                <c:pt idx="70">
                  <c:v>54</c:v>
                </c:pt>
                <c:pt idx="71">
                  <c:v>49</c:v>
                </c:pt>
                <c:pt idx="72">
                  <c:v>44</c:v>
                </c:pt>
                <c:pt idx="73">
                  <c:v>42</c:v>
                </c:pt>
                <c:pt idx="74">
                  <c:v>39</c:v>
                </c:pt>
                <c:pt idx="75">
                  <c:v>43</c:v>
                </c:pt>
                <c:pt idx="76">
                  <c:v>48</c:v>
                </c:pt>
                <c:pt idx="77">
                  <c:v>40</c:v>
                </c:pt>
                <c:pt idx="78">
                  <c:v>37</c:v>
                </c:pt>
                <c:pt idx="79">
                  <c:v>37</c:v>
                </c:pt>
                <c:pt idx="80">
                  <c:v>34</c:v>
                </c:pt>
                <c:pt idx="81">
                  <c:v>36</c:v>
                </c:pt>
                <c:pt idx="82">
                  <c:v>29</c:v>
                </c:pt>
                <c:pt idx="83">
                  <c:v>30</c:v>
                </c:pt>
                <c:pt idx="84">
                  <c:v>29</c:v>
                </c:pt>
                <c:pt idx="85">
                  <c:v>30</c:v>
                </c:pt>
                <c:pt idx="86">
                  <c:v>31</c:v>
                </c:pt>
                <c:pt idx="87">
                  <c:v>31</c:v>
                </c:pt>
                <c:pt idx="88">
                  <c:v>33</c:v>
                </c:pt>
                <c:pt idx="89">
                  <c:v>29</c:v>
                </c:pt>
                <c:pt idx="90">
                  <c:v>28</c:v>
                </c:pt>
                <c:pt idx="91">
                  <c:v>25</c:v>
                </c:pt>
                <c:pt idx="92">
                  <c:v>24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44.431440573218339</c:v>
                </c:pt>
                <c:pt idx="71">
                  <c:v>43.537491116534596</c:v>
                </c:pt>
                <c:pt idx="72">
                  <c:v>42.619348493512035</c:v>
                </c:pt>
                <c:pt idx="73">
                  <c:v>41.680036842174786</c:v>
                </c:pt>
                <c:pt idx="74">
                  <c:v>40.720963198982474</c:v>
                </c:pt>
                <c:pt idx="75">
                  <c:v>39.738083948252225</c:v>
                </c:pt>
                <c:pt idx="76">
                  <c:v>38.755068955532586</c:v>
                </c:pt>
                <c:pt idx="77">
                  <c:v>37.771559452276819</c:v>
                </c:pt>
                <c:pt idx="78">
                  <c:v>36.763389265761333</c:v>
                </c:pt>
                <c:pt idx="79">
                  <c:v>35.738061651947078</c:v>
                </c:pt>
                <c:pt idx="80">
                  <c:v>34.686220032646439</c:v>
                </c:pt>
                <c:pt idx="81">
                  <c:v>33.613577699556735</c:v>
                </c:pt>
                <c:pt idx="82">
                  <c:v>32.549357381966679</c:v>
                </c:pt>
                <c:pt idx="83">
                  <c:v>31.489659756878076</c:v>
                </c:pt>
                <c:pt idx="84">
                  <c:v>30.449943875499585</c:v>
                </c:pt>
                <c:pt idx="85">
                  <c:v>29.424975706920101</c:v>
                </c:pt>
                <c:pt idx="86">
                  <c:v>28.413043124913187</c:v>
                </c:pt>
                <c:pt idx="87">
                  <c:v>27.414699273112966</c:v>
                </c:pt>
                <c:pt idx="88">
                  <c:v>26.433378088775221</c:v>
                </c:pt>
                <c:pt idx="89">
                  <c:v>25.475715606810976</c:v>
                </c:pt>
                <c:pt idx="90">
                  <c:v>24.545832899195663</c:v>
                </c:pt>
                <c:pt idx="91">
                  <c:v>23.646419689685395</c:v>
                </c:pt>
                <c:pt idx="92">
                  <c:v>22.772964869940576</c:v>
                </c:pt>
                <c:pt idx="93">
                  <c:v>21.9214037580574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D1F-4726-9BB0-CA47B0E9C0B9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44.547483699346344</c:v>
                </c:pt>
                <c:pt idx="71">
                  <c:v>43.819291697220976</c:v>
                </c:pt>
                <c:pt idx="72">
                  <c:v>43.106698010093496</c:v>
                </c:pt>
                <c:pt idx="73">
                  <c:v>42.41483532938301</c:v>
                </c:pt>
                <c:pt idx="74">
                  <c:v>41.745101303635586</c:v>
                </c:pt>
                <c:pt idx="75">
                  <c:v>41.085562566893316</c:v>
                </c:pt>
                <c:pt idx="76">
                  <c:v>40.455050974978363</c:v>
                </c:pt>
                <c:pt idx="77">
                  <c:v>39.848612774977582</c:v>
                </c:pt>
                <c:pt idx="78">
                  <c:v>39.241322364319373</c:v>
                </c:pt>
                <c:pt idx="79">
                  <c:v>38.635536460983957</c:v>
                </c:pt>
                <c:pt idx="80">
                  <c:v>38.016963518733846</c:v>
                </c:pt>
                <c:pt idx="81">
                  <c:v>37.385673166770495</c:v>
                </c:pt>
                <c:pt idx="82">
                  <c:v>36.764566228882394</c:v>
                </c:pt>
                <c:pt idx="83">
                  <c:v>36.146241471328295</c:v>
                </c:pt>
                <c:pt idx="84">
                  <c:v>35.543604660921858</c:v>
                </c:pt>
                <c:pt idx="85">
                  <c:v>34.948395946989443</c:v>
                </c:pt>
                <c:pt idx="86">
                  <c:v>34.357205207903085</c:v>
                </c:pt>
                <c:pt idx="87">
                  <c:v>33.768331459272325</c:v>
                </c:pt>
                <c:pt idx="88">
                  <c:v>33.183513318491933</c:v>
                </c:pt>
                <c:pt idx="89">
                  <c:v>32.607929686771534</c:v>
                </c:pt>
                <c:pt idx="90">
                  <c:v>32.044282679314797</c:v>
                </c:pt>
                <c:pt idx="91">
                  <c:v>31.494162899457521</c:v>
                </c:pt>
                <c:pt idx="92">
                  <c:v>30.952660672573277</c:v>
                </c:pt>
                <c:pt idx="93">
                  <c:v>30.4150229487892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D1F-4726-9BB0-CA47B0E9C0B9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45.347041460632084</c:v>
                </c:pt>
                <c:pt idx="71">
                  <c:v>45.460577099714314</c:v>
                </c:pt>
                <c:pt idx="72">
                  <c:v>45.618648399987663</c:v>
                </c:pt>
                <c:pt idx="73">
                  <c:v>45.829448088045083</c:v>
                </c:pt>
                <c:pt idx="74">
                  <c:v>46.099282190264091</c:v>
                </c:pt>
                <c:pt idx="75">
                  <c:v>46.413590946063572</c:v>
                </c:pt>
                <c:pt idx="76">
                  <c:v>46.780001646622893</c:v>
                </c:pt>
                <c:pt idx="77">
                  <c:v>47.192119022076376</c:v>
                </c:pt>
                <c:pt idx="78">
                  <c:v>47.641919796623121</c:v>
                </c:pt>
                <c:pt idx="79">
                  <c:v>48.129354071278115</c:v>
                </c:pt>
                <c:pt idx="80">
                  <c:v>48.638424379795758</c:v>
                </c:pt>
                <c:pt idx="81">
                  <c:v>49.163029576416079</c:v>
                </c:pt>
                <c:pt idx="82">
                  <c:v>49.714754629419986</c:v>
                </c:pt>
                <c:pt idx="83">
                  <c:v>50.288436136366244</c:v>
                </c:pt>
                <c:pt idx="84">
                  <c:v>50.894971393376892</c:v>
                </c:pt>
                <c:pt idx="85">
                  <c:v>51.520609735844666</c:v>
                </c:pt>
                <c:pt idx="86">
                  <c:v>52.160446044798789</c:v>
                </c:pt>
                <c:pt idx="87">
                  <c:v>52.818302637634751</c:v>
                </c:pt>
                <c:pt idx="88">
                  <c:v>53.523391313397617</c:v>
                </c:pt>
                <c:pt idx="89">
                  <c:v>54.274539111329872</c:v>
                </c:pt>
                <c:pt idx="90">
                  <c:v>55.072556137654303</c:v>
                </c:pt>
                <c:pt idx="91">
                  <c:v>55.914455205039573</c:v>
                </c:pt>
                <c:pt idx="92">
                  <c:v>56.795573284392127</c:v>
                </c:pt>
                <c:pt idx="93">
                  <c:v>57.709682338181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D1F-4726-9BB0-CA47B0E9C0B9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45.387906227741297</c:v>
                </c:pt>
                <c:pt idx="71">
                  <c:v>45.562075947415408</c:v>
                </c:pt>
                <c:pt idx="72">
                  <c:v>45.799735846514452</c:v>
                </c:pt>
                <c:pt idx="73">
                  <c:v>46.111094763139292</c:v>
                </c:pt>
                <c:pt idx="74">
                  <c:v>46.503987404207379</c:v>
                </c:pt>
                <c:pt idx="75">
                  <c:v>46.960383874491122</c:v>
                </c:pt>
                <c:pt idx="76">
                  <c:v>47.486816101574533</c:v>
                </c:pt>
                <c:pt idx="77">
                  <c:v>48.076946022213249</c:v>
                </c:pt>
                <c:pt idx="78">
                  <c:v>48.725635385825179</c:v>
                </c:pt>
                <c:pt idx="79">
                  <c:v>49.432518814896547</c:v>
                </c:pt>
                <c:pt idx="80">
                  <c:v>50.180556053662166</c:v>
                </c:pt>
                <c:pt idx="81">
                  <c:v>50.961945302546653</c:v>
                </c:pt>
                <c:pt idx="82">
                  <c:v>51.8236455458253</c:v>
                </c:pt>
                <c:pt idx="83">
                  <c:v>52.771652383768007</c:v>
                </c:pt>
                <c:pt idx="84">
                  <c:v>53.816927478923986</c:v>
                </c:pt>
                <c:pt idx="85">
                  <c:v>54.942850649111165</c:v>
                </c:pt>
                <c:pt idx="86">
                  <c:v>56.142104920862209</c:v>
                </c:pt>
                <c:pt idx="87">
                  <c:v>57.405505724752686</c:v>
                </c:pt>
                <c:pt idx="88">
                  <c:v>58.736535682516362</c:v>
                </c:pt>
                <c:pt idx="89">
                  <c:v>60.134536218578447</c:v>
                </c:pt>
                <c:pt idx="90">
                  <c:v>61.601355928762317</c:v>
                </c:pt>
                <c:pt idx="91">
                  <c:v>63.134555110451487</c:v>
                </c:pt>
                <c:pt idx="92">
                  <c:v>64.729690092866747</c:v>
                </c:pt>
                <c:pt idx="93">
                  <c:v>66.3806932825696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D1F-4726-9BB0-CA47B0E9C0B9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8</c:v>
                </c:pt>
                <c:pt idx="1">
                  <c:v>28</c:v>
                </c:pt>
                <c:pt idx="2">
                  <c:v>28</c:v>
                </c:pt>
                <c:pt idx="3">
                  <c:v>28</c:v>
                </c:pt>
                <c:pt idx="4">
                  <c:v>28</c:v>
                </c:pt>
                <c:pt idx="5">
                  <c:v>28</c:v>
                </c:pt>
                <c:pt idx="6">
                  <c:v>28</c:v>
                </c:pt>
                <c:pt idx="7">
                  <c:v>28</c:v>
                </c:pt>
                <c:pt idx="8">
                  <c:v>28</c:v>
                </c:pt>
                <c:pt idx="9">
                  <c:v>28</c:v>
                </c:pt>
                <c:pt idx="10">
                  <c:v>28</c:v>
                </c:pt>
                <c:pt idx="11">
                  <c:v>28</c:v>
                </c:pt>
                <c:pt idx="12">
                  <c:v>28</c:v>
                </c:pt>
                <c:pt idx="13">
                  <c:v>28</c:v>
                </c:pt>
                <c:pt idx="14">
                  <c:v>28</c:v>
                </c:pt>
                <c:pt idx="15">
                  <c:v>28</c:v>
                </c:pt>
                <c:pt idx="16">
                  <c:v>28</c:v>
                </c:pt>
                <c:pt idx="17">
                  <c:v>28</c:v>
                </c:pt>
                <c:pt idx="18">
                  <c:v>28</c:v>
                </c:pt>
                <c:pt idx="19">
                  <c:v>28</c:v>
                </c:pt>
                <c:pt idx="20">
                  <c:v>28</c:v>
                </c:pt>
                <c:pt idx="21">
                  <c:v>28</c:v>
                </c:pt>
                <c:pt idx="22">
                  <c:v>28</c:v>
                </c:pt>
                <c:pt idx="23">
                  <c:v>28</c:v>
                </c:pt>
                <c:pt idx="24">
                  <c:v>28</c:v>
                </c:pt>
                <c:pt idx="25">
                  <c:v>28</c:v>
                </c:pt>
                <c:pt idx="26">
                  <c:v>28</c:v>
                </c:pt>
                <c:pt idx="27">
                  <c:v>28</c:v>
                </c:pt>
                <c:pt idx="28">
                  <c:v>28</c:v>
                </c:pt>
                <c:pt idx="29">
                  <c:v>28</c:v>
                </c:pt>
                <c:pt idx="30">
                  <c:v>28</c:v>
                </c:pt>
                <c:pt idx="31">
                  <c:v>28</c:v>
                </c:pt>
                <c:pt idx="32">
                  <c:v>28</c:v>
                </c:pt>
                <c:pt idx="33">
                  <c:v>28</c:v>
                </c:pt>
                <c:pt idx="34">
                  <c:v>28</c:v>
                </c:pt>
                <c:pt idx="35">
                  <c:v>28</c:v>
                </c:pt>
                <c:pt idx="36">
                  <c:v>28</c:v>
                </c:pt>
                <c:pt idx="37">
                  <c:v>28</c:v>
                </c:pt>
                <c:pt idx="38">
                  <c:v>28</c:v>
                </c:pt>
                <c:pt idx="39">
                  <c:v>28</c:v>
                </c:pt>
                <c:pt idx="40">
                  <c:v>28</c:v>
                </c:pt>
                <c:pt idx="41">
                  <c:v>28</c:v>
                </c:pt>
                <c:pt idx="42">
                  <c:v>28</c:v>
                </c:pt>
                <c:pt idx="43">
                  <c:v>28</c:v>
                </c:pt>
                <c:pt idx="44">
                  <c:v>28</c:v>
                </c:pt>
                <c:pt idx="45">
                  <c:v>28</c:v>
                </c:pt>
                <c:pt idx="46">
                  <c:v>28</c:v>
                </c:pt>
                <c:pt idx="47">
                  <c:v>28</c:v>
                </c:pt>
                <c:pt idx="48">
                  <c:v>28</c:v>
                </c:pt>
                <c:pt idx="49">
                  <c:v>28</c:v>
                </c:pt>
                <c:pt idx="50">
                  <c:v>28</c:v>
                </c:pt>
                <c:pt idx="51">
                  <c:v>28</c:v>
                </c:pt>
                <c:pt idx="52">
                  <c:v>28</c:v>
                </c:pt>
                <c:pt idx="53">
                  <c:v>28</c:v>
                </c:pt>
                <c:pt idx="54">
                  <c:v>28</c:v>
                </c:pt>
                <c:pt idx="55">
                  <c:v>28</c:v>
                </c:pt>
                <c:pt idx="56">
                  <c:v>28</c:v>
                </c:pt>
                <c:pt idx="57">
                  <c:v>28</c:v>
                </c:pt>
                <c:pt idx="58">
                  <c:v>28</c:v>
                </c:pt>
                <c:pt idx="59">
                  <c:v>28</c:v>
                </c:pt>
                <c:pt idx="60">
                  <c:v>28</c:v>
                </c:pt>
                <c:pt idx="61">
                  <c:v>28</c:v>
                </c:pt>
                <c:pt idx="62">
                  <c:v>28</c:v>
                </c:pt>
                <c:pt idx="63">
                  <c:v>28</c:v>
                </c:pt>
                <c:pt idx="64">
                  <c:v>28</c:v>
                </c:pt>
                <c:pt idx="65">
                  <c:v>28</c:v>
                </c:pt>
                <c:pt idx="66">
                  <c:v>28</c:v>
                </c:pt>
                <c:pt idx="67">
                  <c:v>28</c:v>
                </c:pt>
                <c:pt idx="68">
                  <c:v>28</c:v>
                </c:pt>
                <c:pt idx="69">
                  <c:v>28</c:v>
                </c:pt>
                <c:pt idx="70">
                  <c:v>28</c:v>
                </c:pt>
                <c:pt idx="71">
                  <c:v>28</c:v>
                </c:pt>
                <c:pt idx="72">
                  <c:v>28</c:v>
                </c:pt>
                <c:pt idx="73">
                  <c:v>28</c:v>
                </c:pt>
                <c:pt idx="74">
                  <c:v>28</c:v>
                </c:pt>
                <c:pt idx="75">
                  <c:v>28</c:v>
                </c:pt>
                <c:pt idx="76">
                  <c:v>28</c:v>
                </c:pt>
                <c:pt idx="77">
                  <c:v>28</c:v>
                </c:pt>
                <c:pt idx="78">
                  <c:v>28</c:v>
                </c:pt>
                <c:pt idx="79">
                  <c:v>28</c:v>
                </c:pt>
                <c:pt idx="80">
                  <c:v>28</c:v>
                </c:pt>
                <c:pt idx="81">
                  <c:v>28</c:v>
                </c:pt>
                <c:pt idx="82">
                  <c:v>28</c:v>
                </c:pt>
                <c:pt idx="83">
                  <c:v>28</c:v>
                </c:pt>
                <c:pt idx="84">
                  <c:v>28</c:v>
                </c:pt>
                <c:pt idx="85">
                  <c:v>28</c:v>
                </c:pt>
                <c:pt idx="86">
                  <c:v>28</c:v>
                </c:pt>
                <c:pt idx="87">
                  <c:v>28</c:v>
                </c:pt>
                <c:pt idx="88">
                  <c:v>28</c:v>
                </c:pt>
                <c:pt idx="89">
                  <c:v>28</c:v>
                </c:pt>
                <c:pt idx="90">
                  <c:v>28</c:v>
                </c:pt>
                <c:pt idx="91">
                  <c:v>28</c:v>
                </c:pt>
                <c:pt idx="92">
                  <c:v>28</c:v>
                </c:pt>
                <c:pt idx="93">
                  <c:v>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1</c:v>
                </c:pt>
                <c:pt idx="1">
                  <c:v>58</c:v>
                </c:pt>
                <c:pt idx="2">
                  <c:v>55</c:v>
                </c:pt>
                <c:pt idx="3">
                  <c:v>55</c:v>
                </c:pt>
                <c:pt idx="4">
                  <c:v>57</c:v>
                </c:pt>
                <c:pt idx="5">
                  <c:v>69</c:v>
                </c:pt>
                <c:pt idx="6">
                  <c:v>71</c:v>
                </c:pt>
                <c:pt idx="7">
                  <c:v>71</c:v>
                </c:pt>
                <c:pt idx="8">
                  <c:v>76</c:v>
                </c:pt>
                <c:pt idx="9">
                  <c:v>84</c:v>
                </c:pt>
                <c:pt idx="10">
                  <c:v>78</c:v>
                </c:pt>
                <c:pt idx="11">
                  <c:v>71</c:v>
                </c:pt>
                <c:pt idx="12">
                  <c:v>70</c:v>
                </c:pt>
                <c:pt idx="13">
                  <c:v>66</c:v>
                </c:pt>
                <c:pt idx="14">
                  <c:v>63</c:v>
                </c:pt>
                <c:pt idx="15">
                  <c:v>58</c:v>
                </c:pt>
                <c:pt idx="16">
                  <c:v>59</c:v>
                </c:pt>
                <c:pt idx="17">
                  <c:v>65</c:v>
                </c:pt>
                <c:pt idx="18">
                  <c:v>65</c:v>
                </c:pt>
                <c:pt idx="19">
                  <c:v>57</c:v>
                </c:pt>
                <c:pt idx="20">
                  <c:v>55</c:v>
                </c:pt>
                <c:pt idx="21">
                  <c:v>62</c:v>
                </c:pt>
                <c:pt idx="22">
                  <c:v>68</c:v>
                </c:pt>
                <c:pt idx="23">
                  <c:v>71</c:v>
                </c:pt>
                <c:pt idx="24">
                  <c:v>68</c:v>
                </c:pt>
                <c:pt idx="25">
                  <c:v>66</c:v>
                </c:pt>
                <c:pt idx="26">
                  <c:v>69</c:v>
                </c:pt>
                <c:pt idx="27">
                  <c:v>68</c:v>
                </c:pt>
                <c:pt idx="28">
                  <c:v>75</c:v>
                </c:pt>
                <c:pt idx="29">
                  <c:v>67</c:v>
                </c:pt>
                <c:pt idx="30">
                  <c:v>69</c:v>
                </c:pt>
                <c:pt idx="31">
                  <c:v>79</c:v>
                </c:pt>
                <c:pt idx="32">
                  <c:v>87</c:v>
                </c:pt>
                <c:pt idx="33">
                  <c:v>85</c:v>
                </c:pt>
                <c:pt idx="34">
                  <c:v>89</c:v>
                </c:pt>
                <c:pt idx="35">
                  <c:v>81</c:v>
                </c:pt>
                <c:pt idx="36">
                  <c:v>74</c:v>
                </c:pt>
                <c:pt idx="37">
                  <c:v>76</c:v>
                </c:pt>
                <c:pt idx="38">
                  <c:v>84</c:v>
                </c:pt>
                <c:pt idx="39">
                  <c:v>84</c:v>
                </c:pt>
                <c:pt idx="40">
                  <c:v>87</c:v>
                </c:pt>
                <c:pt idx="41">
                  <c:v>84</c:v>
                </c:pt>
                <c:pt idx="42">
                  <c:v>83</c:v>
                </c:pt>
                <c:pt idx="43">
                  <c:v>82</c:v>
                </c:pt>
                <c:pt idx="44">
                  <c:v>89</c:v>
                </c:pt>
                <c:pt idx="45">
                  <c:v>87</c:v>
                </c:pt>
                <c:pt idx="46">
                  <c:v>97</c:v>
                </c:pt>
                <c:pt idx="47">
                  <c:v>97</c:v>
                </c:pt>
                <c:pt idx="48">
                  <c:v>105</c:v>
                </c:pt>
                <c:pt idx="49">
                  <c:v>93</c:v>
                </c:pt>
                <c:pt idx="50">
                  <c:v>94</c:v>
                </c:pt>
                <c:pt idx="51">
                  <c:v>98</c:v>
                </c:pt>
                <c:pt idx="52">
                  <c:v>111</c:v>
                </c:pt>
                <c:pt idx="53">
                  <c:v>116</c:v>
                </c:pt>
                <c:pt idx="54">
                  <c:v>117</c:v>
                </c:pt>
                <c:pt idx="55">
                  <c:v>122</c:v>
                </c:pt>
                <c:pt idx="56">
                  <c:v>114</c:v>
                </c:pt>
                <c:pt idx="57">
                  <c:v>116</c:v>
                </c:pt>
                <c:pt idx="58">
                  <c:v>111</c:v>
                </c:pt>
                <c:pt idx="59">
                  <c:v>120</c:v>
                </c:pt>
                <c:pt idx="60">
                  <c:v>116</c:v>
                </c:pt>
                <c:pt idx="61">
                  <c:v>124</c:v>
                </c:pt>
                <c:pt idx="62">
                  <c:v>130</c:v>
                </c:pt>
                <c:pt idx="63">
                  <c:v>130</c:v>
                </c:pt>
                <c:pt idx="64">
                  <c:v>120</c:v>
                </c:pt>
                <c:pt idx="65">
                  <c:v>125</c:v>
                </c:pt>
                <c:pt idx="66">
                  <c:v>131</c:v>
                </c:pt>
                <c:pt idx="67">
                  <c:v>145</c:v>
                </c:pt>
                <c:pt idx="68">
                  <c:v>132</c:v>
                </c:pt>
                <c:pt idx="69">
                  <c:v>127</c:v>
                </c:pt>
                <c:pt idx="70">
                  <c:v>139</c:v>
                </c:pt>
                <c:pt idx="71">
                  <c:v>140</c:v>
                </c:pt>
                <c:pt idx="72">
                  <c:v>141</c:v>
                </c:pt>
                <c:pt idx="73">
                  <c:v>156</c:v>
                </c:pt>
                <c:pt idx="74">
                  <c:v>157</c:v>
                </c:pt>
                <c:pt idx="75">
                  <c:v>152</c:v>
                </c:pt>
                <c:pt idx="76">
                  <c:v>148</c:v>
                </c:pt>
                <c:pt idx="77">
                  <c:v>145</c:v>
                </c:pt>
                <c:pt idx="78">
                  <c:v>147</c:v>
                </c:pt>
                <c:pt idx="79">
                  <c:v>142</c:v>
                </c:pt>
                <c:pt idx="80">
                  <c:v>155</c:v>
                </c:pt>
                <c:pt idx="81">
                  <c:v>151</c:v>
                </c:pt>
                <c:pt idx="82">
                  <c:v>159</c:v>
                </c:pt>
                <c:pt idx="83">
                  <c:v>163</c:v>
                </c:pt>
                <c:pt idx="84">
                  <c:v>159</c:v>
                </c:pt>
                <c:pt idx="85">
                  <c:v>154</c:v>
                </c:pt>
                <c:pt idx="86">
                  <c:v>149</c:v>
                </c:pt>
                <c:pt idx="87">
                  <c:v>157</c:v>
                </c:pt>
                <c:pt idx="88">
                  <c:v>159</c:v>
                </c:pt>
                <c:pt idx="89">
                  <c:v>146</c:v>
                </c:pt>
                <c:pt idx="90">
                  <c:v>140</c:v>
                </c:pt>
                <c:pt idx="91">
                  <c:v>139</c:v>
                </c:pt>
                <c:pt idx="92">
                  <c:v>137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44.4858788961331</c:v>
                </c:pt>
                <c:pt idx="71">
                  <c:v>141.48302581289809</c:v>
                </c:pt>
                <c:pt idx="72">
                  <c:v>138.40977014865356</c:v>
                </c:pt>
                <c:pt idx="73">
                  <c:v>135.27858306276156</c:v>
                </c:pt>
                <c:pt idx="74">
                  <c:v>132.10202491256848</c:v>
                </c:pt>
                <c:pt idx="75">
                  <c:v>128.85658974537557</c:v>
                </c:pt>
                <c:pt idx="76">
                  <c:v>125.61324011202404</c:v>
                </c:pt>
                <c:pt idx="77">
                  <c:v>122.38156430452472</c:v>
                </c:pt>
                <c:pt idx="78">
                  <c:v>119.07334582252433</c:v>
                </c:pt>
                <c:pt idx="79">
                  <c:v>115.72190635292326</c:v>
                </c:pt>
                <c:pt idx="80">
                  <c:v>112.29052609081344</c:v>
                </c:pt>
                <c:pt idx="81">
                  <c:v>108.79403824317365</c:v>
                </c:pt>
                <c:pt idx="82">
                  <c:v>105.32908817657145</c:v>
                </c:pt>
                <c:pt idx="83">
                  <c:v>101.88102372254488</c:v>
                </c:pt>
                <c:pt idx="84">
                  <c:v>98.503407578781776</c:v>
                </c:pt>
                <c:pt idx="85">
                  <c:v>95.177833206378125</c:v>
                </c:pt>
                <c:pt idx="86">
                  <c:v>91.899096473874337</c:v>
                </c:pt>
                <c:pt idx="87">
                  <c:v>88.668430203146613</c:v>
                </c:pt>
                <c:pt idx="88">
                  <c:v>85.494136664071661</c:v>
                </c:pt>
                <c:pt idx="89">
                  <c:v>82.399344813186957</c:v>
                </c:pt>
                <c:pt idx="90">
                  <c:v>79.396724391371592</c:v>
                </c:pt>
                <c:pt idx="91">
                  <c:v>76.496293512822547</c:v>
                </c:pt>
                <c:pt idx="92">
                  <c:v>73.681734352831626</c:v>
                </c:pt>
                <c:pt idx="93">
                  <c:v>70.9382993348413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C6E-45B1-9788-DD6A41591001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44.85464968049882</c:v>
                </c:pt>
                <c:pt idx="71">
                  <c:v>142.37929472308383</c:v>
                </c:pt>
                <c:pt idx="72">
                  <c:v>139.96000078460312</c:v>
                </c:pt>
                <c:pt idx="73">
                  <c:v>137.61675403759273</c:v>
                </c:pt>
                <c:pt idx="74">
                  <c:v>135.3616848523757</c:v>
                </c:pt>
                <c:pt idx="75">
                  <c:v>133.14664776133074</c:v>
                </c:pt>
                <c:pt idx="76">
                  <c:v>131.02756004227049</c:v>
                </c:pt>
                <c:pt idx="77">
                  <c:v>129.00006294109627</c:v>
                </c:pt>
                <c:pt idx="78">
                  <c:v>126.97325463450534</c:v>
                </c:pt>
                <c:pt idx="79">
                  <c:v>124.96382208687139</c:v>
                </c:pt>
                <c:pt idx="80">
                  <c:v>122.9190467574937</c:v>
                </c:pt>
                <c:pt idx="81">
                  <c:v>120.83567590366175</c:v>
                </c:pt>
                <c:pt idx="82">
                  <c:v>118.79024190216622</c:v>
                </c:pt>
                <c:pt idx="83">
                  <c:v>116.7564479843291</c:v>
                </c:pt>
                <c:pt idx="84">
                  <c:v>114.77967051703541</c:v>
                </c:pt>
                <c:pt idx="85">
                  <c:v>112.83185928321245</c:v>
                </c:pt>
                <c:pt idx="86">
                  <c:v>110.90230984720918</c:v>
                </c:pt>
                <c:pt idx="87">
                  <c:v>108.98489866279098</c:v>
                </c:pt>
                <c:pt idx="88">
                  <c:v>107.08269301428888</c:v>
                </c:pt>
                <c:pt idx="89">
                  <c:v>105.21393700043318</c:v>
                </c:pt>
                <c:pt idx="90">
                  <c:v>103.38684067472683</c:v>
                </c:pt>
                <c:pt idx="91">
                  <c:v>101.60773655499375</c:v>
                </c:pt>
                <c:pt idx="92">
                  <c:v>99.859125013814392</c:v>
                </c:pt>
                <c:pt idx="93">
                  <c:v>98.1239361087597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C6E-45B1-9788-DD6A41591001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47.75368385104025</c:v>
                </c:pt>
                <c:pt idx="71">
                  <c:v>148.27156398144371</c:v>
                </c:pt>
                <c:pt idx="72">
                  <c:v>148.89595134238903</c:v>
                </c:pt>
                <c:pt idx="73">
                  <c:v>149.65380814872691</c:v>
                </c:pt>
                <c:pt idx="74">
                  <c:v>150.57288466821035</c:v>
                </c:pt>
                <c:pt idx="75">
                  <c:v>151.6069230968063</c:v>
                </c:pt>
                <c:pt idx="76">
                  <c:v>152.77472830648071</c:v>
                </c:pt>
                <c:pt idx="77">
                  <c:v>154.06977893126472</c:v>
                </c:pt>
                <c:pt idx="78">
                  <c:v>155.46115266824182</c:v>
                </c:pt>
                <c:pt idx="79">
                  <c:v>156.96008703943554</c:v>
                </c:pt>
                <c:pt idx="80">
                  <c:v>158.51215559685266</c:v>
                </c:pt>
                <c:pt idx="81">
                  <c:v>160.09766098665716</c:v>
                </c:pt>
                <c:pt idx="82">
                  <c:v>161.75700854821002</c:v>
                </c:pt>
                <c:pt idx="83">
                  <c:v>163.47400495714828</c:v>
                </c:pt>
                <c:pt idx="84">
                  <c:v>165.2872615400978</c:v>
                </c:pt>
                <c:pt idx="85">
                  <c:v>167.15069381458667</c:v>
                </c:pt>
                <c:pt idx="86">
                  <c:v>169.05040287295535</c:v>
                </c:pt>
                <c:pt idx="87">
                  <c:v>171.00425165988656</c:v>
                </c:pt>
                <c:pt idx="88">
                  <c:v>173.12221276933474</c:v>
                </c:pt>
                <c:pt idx="89">
                  <c:v>175.39904880096788</c:v>
                </c:pt>
                <c:pt idx="90">
                  <c:v>177.83725205246105</c:v>
                </c:pt>
                <c:pt idx="91">
                  <c:v>180.42691936466551</c:v>
                </c:pt>
                <c:pt idx="92">
                  <c:v>183.1531355791725</c:v>
                </c:pt>
                <c:pt idx="93">
                  <c:v>185.994198294706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C6E-45B1-9788-DD6A41591001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147.8727502588045</c:v>
                </c:pt>
                <c:pt idx="71">
                  <c:v>148.567298034098</c:v>
                </c:pt>
                <c:pt idx="72">
                  <c:v>149.42358023334839</c:v>
                </c:pt>
                <c:pt idx="73">
                  <c:v>150.47443335313807</c:v>
                </c:pt>
                <c:pt idx="74">
                  <c:v>151.7520617304192</c:v>
                </c:pt>
                <c:pt idx="75">
                  <c:v>153.20009673718874</c:v>
                </c:pt>
                <c:pt idx="76">
                  <c:v>154.83415171839022</c:v>
                </c:pt>
                <c:pt idx="77">
                  <c:v>156.64787198921749</c:v>
                </c:pt>
                <c:pt idx="78">
                  <c:v>158.61874125548525</c:v>
                </c:pt>
                <c:pt idx="79">
                  <c:v>160.75707783918708</c:v>
                </c:pt>
                <c:pt idx="80">
                  <c:v>163.0054169487656</c:v>
                </c:pt>
                <c:pt idx="81">
                  <c:v>165.33910608797288</c:v>
                </c:pt>
                <c:pt idx="82">
                  <c:v>167.93445587539389</c:v>
                </c:pt>
                <c:pt idx="83">
                  <c:v>170.81730201332539</c:v>
                </c:pt>
                <c:pt idx="84">
                  <c:v>174.02574961593319</c:v>
                </c:pt>
                <c:pt idx="85">
                  <c:v>177.50304220819561</c:v>
                </c:pt>
                <c:pt idx="86">
                  <c:v>181.22632212402968</c:v>
                </c:pt>
                <c:pt idx="87">
                  <c:v>185.16441436983308</c:v>
                </c:pt>
                <c:pt idx="88">
                  <c:v>189.32925493217962</c:v>
                </c:pt>
                <c:pt idx="89">
                  <c:v>193.71695984801249</c:v>
                </c:pt>
                <c:pt idx="90">
                  <c:v>198.33376123561541</c:v>
                </c:pt>
                <c:pt idx="91">
                  <c:v>203.17161455889024</c:v>
                </c:pt>
                <c:pt idx="92">
                  <c:v>208.21640789896432</c:v>
                </c:pt>
                <c:pt idx="93">
                  <c:v>213.44697923985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C6E-45B1-9788-DD6A4159100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04</c:v>
                </c:pt>
                <c:pt idx="1">
                  <c:v>104</c:v>
                </c:pt>
                <c:pt idx="2">
                  <c:v>104</c:v>
                </c:pt>
                <c:pt idx="3">
                  <c:v>104</c:v>
                </c:pt>
                <c:pt idx="4">
                  <c:v>104</c:v>
                </c:pt>
                <c:pt idx="5">
                  <c:v>104</c:v>
                </c:pt>
                <c:pt idx="6">
                  <c:v>104</c:v>
                </c:pt>
                <c:pt idx="7">
                  <c:v>104</c:v>
                </c:pt>
                <c:pt idx="8">
                  <c:v>104</c:v>
                </c:pt>
                <c:pt idx="9">
                  <c:v>104</c:v>
                </c:pt>
                <c:pt idx="10">
                  <c:v>104</c:v>
                </c:pt>
                <c:pt idx="11">
                  <c:v>104</c:v>
                </c:pt>
                <c:pt idx="12">
                  <c:v>104</c:v>
                </c:pt>
                <c:pt idx="13">
                  <c:v>104</c:v>
                </c:pt>
                <c:pt idx="14">
                  <c:v>104</c:v>
                </c:pt>
                <c:pt idx="15">
                  <c:v>104</c:v>
                </c:pt>
                <c:pt idx="16">
                  <c:v>104</c:v>
                </c:pt>
                <c:pt idx="17">
                  <c:v>104</c:v>
                </c:pt>
                <c:pt idx="18">
                  <c:v>104</c:v>
                </c:pt>
                <c:pt idx="19">
                  <c:v>104</c:v>
                </c:pt>
                <c:pt idx="20">
                  <c:v>104</c:v>
                </c:pt>
                <c:pt idx="21">
                  <c:v>104</c:v>
                </c:pt>
                <c:pt idx="22">
                  <c:v>104</c:v>
                </c:pt>
                <c:pt idx="23">
                  <c:v>104</c:v>
                </c:pt>
                <c:pt idx="24">
                  <c:v>104</c:v>
                </c:pt>
                <c:pt idx="25">
                  <c:v>104</c:v>
                </c:pt>
                <c:pt idx="26">
                  <c:v>104</c:v>
                </c:pt>
                <c:pt idx="27">
                  <c:v>104</c:v>
                </c:pt>
                <c:pt idx="28">
                  <c:v>104</c:v>
                </c:pt>
                <c:pt idx="29">
                  <c:v>104</c:v>
                </c:pt>
                <c:pt idx="30">
                  <c:v>104</c:v>
                </c:pt>
                <c:pt idx="31">
                  <c:v>104</c:v>
                </c:pt>
                <c:pt idx="32">
                  <c:v>104</c:v>
                </c:pt>
                <c:pt idx="33">
                  <c:v>104</c:v>
                </c:pt>
                <c:pt idx="34">
                  <c:v>104</c:v>
                </c:pt>
                <c:pt idx="35">
                  <c:v>104</c:v>
                </c:pt>
                <c:pt idx="36">
                  <c:v>104</c:v>
                </c:pt>
                <c:pt idx="37">
                  <c:v>104</c:v>
                </c:pt>
                <c:pt idx="38">
                  <c:v>104</c:v>
                </c:pt>
                <c:pt idx="39">
                  <c:v>104</c:v>
                </c:pt>
                <c:pt idx="40">
                  <c:v>104</c:v>
                </c:pt>
                <c:pt idx="41">
                  <c:v>104</c:v>
                </c:pt>
                <c:pt idx="42">
                  <c:v>104</c:v>
                </c:pt>
                <c:pt idx="43">
                  <c:v>104</c:v>
                </c:pt>
                <c:pt idx="44">
                  <c:v>104</c:v>
                </c:pt>
                <c:pt idx="45">
                  <c:v>104</c:v>
                </c:pt>
                <c:pt idx="46">
                  <c:v>104</c:v>
                </c:pt>
                <c:pt idx="47">
                  <c:v>104</c:v>
                </c:pt>
                <c:pt idx="48">
                  <c:v>104</c:v>
                </c:pt>
                <c:pt idx="49">
                  <c:v>104</c:v>
                </c:pt>
                <c:pt idx="50">
                  <c:v>104</c:v>
                </c:pt>
                <c:pt idx="51">
                  <c:v>104</c:v>
                </c:pt>
                <c:pt idx="52">
                  <c:v>104</c:v>
                </c:pt>
                <c:pt idx="53">
                  <c:v>104</c:v>
                </c:pt>
                <c:pt idx="54">
                  <c:v>104</c:v>
                </c:pt>
                <c:pt idx="55">
                  <c:v>104</c:v>
                </c:pt>
                <c:pt idx="56">
                  <c:v>104</c:v>
                </c:pt>
                <c:pt idx="57">
                  <c:v>104</c:v>
                </c:pt>
                <c:pt idx="58">
                  <c:v>104</c:v>
                </c:pt>
                <c:pt idx="59">
                  <c:v>104</c:v>
                </c:pt>
                <c:pt idx="60">
                  <c:v>104</c:v>
                </c:pt>
                <c:pt idx="61">
                  <c:v>104</c:v>
                </c:pt>
                <c:pt idx="62">
                  <c:v>104</c:v>
                </c:pt>
                <c:pt idx="63">
                  <c:v>104</c:v>
                </c:pt>
                <c:pt idx="64">
                  <c:v>104</c:v>
                </c:pt>
                <c:pt idx="65">
                  <c:v>104</c:v>
                </c:pt>
                <c:pt idx="66">
                  <c:v>104</c:v>
                </c:pt>
                <c:pt idx="67">
                  <c:v>104</c:v>
                </c:pt>
                <c:pt idx="68">
                  <c:v>104</c:v>
                </c:pt>
                <c:pt idx="69">
                  <c:v>104</c:v>
                </c:pt>
                <c:pt idx="70">
                  <c:v>104</c:v>
                </c:pt>
                <c:pt idx="71">
                  <c:v>104</c:v>
                </c:pt>
                <c:pt idx="72">
                  <c:v>104</c:v>
                </c:pt>
                <c:pt idx="73">
                  <c:v>104</c:v>
                </c:pt>
                <c:pt idx="74">
                  <c:v>104</c:v>
                </c:pt>
                <c:pt idx="75">
                  <c:v>104</c:v>
                </c:pt>
                <c:pt idx="76">
                  <c:v>104</c:v>
                </c:pt>
                <c:pt idx="77">
                  <c:v>104</c:v>
                </c:pt>
                <c:pt idx="78">
                  <c:v>104</c:v>
                </c:pt>
                <c:pt idx="79">
                  <c:v>104</c:v>
                </c:pt>
                <c:pt idx="80">
                  <c:v>104</c:v>
                </c:pt>
                <c:pt idx="81">
                  <c:v>104</c:v>
                </c:pt>
                <c:pt idx="82">
                  <c:v>104</c:v>
                </c:pt>
                <c:pt idx="83">
                  <c:v>104</c:v>
                </c:pt>
                <c:pt idx="84">
                  <c:v>104</c:v>
                </c:pt>
                <c:pt idx="85">
                  <c:v>104</c:v>
                </c:pt>
                <c:pt idx="86">
                  <c:v>104</c:v>
                </c:pt>
                <c:pt idx="87">
                  <c:v>104</c:v>
                </c:pt>
                <c:pt idx="88">
                  <c:v>104</c:v>
                </c:pt>
                <c:pt idx="89">
                  <c:v>104</c:v>
                </c:pt>
                <c:pt idx="90">
                  <c:v>104</c:v>
                </c:pt>
                <c:pt idx="91">
                  <c:v>104</c:v>
                </c:pt>
                <c:pt idx="92">
                  <c:v>104</c:v>
                </c:pt>
                <c:pt idx="93">
                  <c:v>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4</c:v>
                </c:pt>
                <c:pt idx="1">
                  <c:v>44</c:v>
                </c:pt>
                <c:pt idx="2">
                  <c:v>47</c:v>
                </c:pt>
                <c:pt idx="3">
                  <c:v>48</c:v>
                </c:pt>
                <c:pt idx="4">
                  <c:v>49</c:v>
                </c:pt>
                <c:pt idx="5">
                  <c:v>49</c:v>
                </c:pt>
                <c:pt idx="6">
                  <c:v>47</c:v>
                </c:pt>
                <c:pt idx="7">
                  <c:v>45</c:v>
                </c:pt>
                <c:pt idx="8">
                  <c:v>50</c:v>
                </c:pt>
                <c:pt idx="9">
                  <c:v>52</c:v>
                </c:pt>
                <c:pt idx="10">
                  <c:v>51</c:v>
                </c:pt>
                <c:pt idx="11">
                  <c:v>47</c:v>
                </c:pt>
                <c:pt idx="12">
                  <c:v>50</c:v>
                </c:pt>
                <c:pt idx="13">
                  <c:v>52</c:v>
                </c:pt>
                <c:pt idx="14">
                  <c:v>48</c:v>
                </c:pt>
                <c:pt idx="15">
                  <c:v>51</c:v>
                </c:pt>
                <c:pt idx="16">
                  <c:v>50</c:v>
                </c:pt>
                <c:pt idx="17">
                  <c:v>52</c:v>
                </c:pt>
                <c:pt idx="18">
                  <c:v>53</c:v>
                </c:pt>
                <c:pt idx="19">
                  <c:v>50</c:v>
                </c:pt>
                <c:pt idx="20">
                  <c:v>47</c:v>
                </c:pt>
                <c:pt idx="21">
                  <c:v>49</c:v>
                </c:pt>
                <c:pt idx="22">
                  <c:v>45</c:v>
                </c:pt>
                <c:pt idx="23">
                  <c:v>53</c:v>
                </c:pt>
                <c:pt idx="24">
                  <c:v>54</c:v>
                </c:pt>
                <c:pt idx="25">
                  <c:v>49</c:v>
                </c:pt>
                <c:pt idx="26">
                  <c:v>50</c:v>
                </c:pt>
                <c:pt idx="27">
                  <c:v>48</c:v>
                </c:pt>
                <c:pt idx="28">
                  <c:v>50</c:v>
                </c:pt>
                <c:pt idx="29">
                  <c:v>50</c:v>
                </c:pt>
                <c:pt idx="30">
                  <c:v>49</c:v>
                </c:pt>
                <c:pt idx="31">
                  <c:v>52</c:v>
                </c:pt>
                <c:pt idx="32">
                  <c:v>50</c:v>
                </c:pt>
                <c:pt idx="33">
                  <c:v>51</c:v>
                </c:pt>
                <c:pt idx="34">
                  <c:v>53</c:v>
                </c:pt>
                <c:pt idx="35">
                  <c:v>55</c:v>
                </c:pt>
                <c:pt idx="36">
                  <c:v>58</c:v>
                </c:pt>
                <c:pt idx="37">
                  <c:v>55</c:v>
                </c:pt>
                <c:pt idx="38">
                  <c:v>61</c:v>
                </c:pt>
                <c:pt idx="39">
                  <c:v>60</c:v>
                </c:pt>
                <c:pt idx="40">
                  <c:v>55</c:v>
                </c:pt>
                <c:pt idx="41">
                  <c:v>56</c:v>
                </c:pt>
                <c:pt idx="42">
                  <c:v>58</c:v>
                </c:pt>
                <c:pt idx="43">
                  <c:v>55</c:v>
                </c:pt>
                <c:pt idx="44">
                  <c:v>59</c:v>
                </c:pt>
                <c:pt idx="45">
                  <c:v>58</c:v>
                </c:pt>
                <c:pt idx="46">
                  <c:v>58</c:v>
                </c:pt>
                <c:pt idx="47">
                  <c:v>55</c:v>
                </c:pt>
                <c:pt idx="48">
                  <c:v>59</c:v>
                </c:pt>
                <c:pt idx="49">
                  <c:v>56</c:v>
                </c:pt>
                <c:pt idx="50">
                  <c:v>65</c:v>
                </c:pt>
                <c:pt idx="51">
                  <c:v>68</c:v>
                </c:pt>
                <c:pt idx="52">
                  <c:v>78</c:v>
                </c:pt>
                <c:pt idx="53">
                  <c:v>84</c:v>
                </c:pt>
                <c:pt idx="54">
                  <c:v>90</c:v>
                </c:pt>
                <c:pt idx="55">
                  <c:v>97</c:v>
                </c:pt>
                <c:pt idx="56">
                  <c:v>92</c:v>
                </c:pt>
                <c:pt idx="57">
                  <c:v>96</c:v>
                </c:pt>
                <c:pt idx="58">
                  <c:v>101</c:v>
                </c:pt>
                <c:pt idx="59">
                  <c:v>104</c:v>
                </c:pt>
                <c:pt idx="60">
                  <c:v>102</c:v>
                </c:pt>
                <c:pt idx="61">
                  <c:v>104</c:v>
                </c:pt>
                <c:pt idx="62">
                  <c:v>103</c:v>
                </c:pt>
                <c:pt idx="63">
                  <c:v>100</c:v>
                </c:pt>
                <c:pt idx="64">
                  <c:v>97</c:v>
                </c:pt>
                <c:pt idx="65">
                  <c:v>93</c:v>
                </c:pt>
                <c:pt idx="66">
                  <c:v>106</c:v>
                </c:pt>
                <c:pt idx="67">
                  <c:v>125</c:v>
                </c:pt>
                <c:pt idx="68">
                  <c:v>122</c:v>
                </c:pt>
                <c:pt idx="69">
                  <c:v>128</c:v>
                </c:pt>
                <c:pt idx="70">
                  <c:v>113</c:v>
                </c:pt>
                <c:pt idx="71">
                  <c:v>107</c:v>
                </c:pt>
                <c:pt idx="72">
                  <c:v>114</c:v>
                </c:pt>
                <c:pt idx="73">
                  <c:v>109</c:v>
                </c:pt>
                <c:pt idx="74">
                  <c:v>111</c:v>
                </c:pt>
                <c:pt idx="75">
                  <c:v>108</c:v>
                </c:pt>
                <c:pt idx="76">
                  <c:v>110</c:v>
                </c:pt>
                <c:pt idx="77">
                  <c:v>104</c:v>
                </c:pt>
                <c:pt idx="78">
                  <c:v>98</c:v>
                </c:pt>
                <c:pt idx="79">
                  <c:v>105</c:v>
                </c:pt>
                <c:pt idx="80">
                  <c:v>103</c:v>
                </c:pt>
                <c:pt idx="81">
                  <c:v>99</c:v>
                </c:pt>
                <c:pt idx="82">
                  <c:v>95</c:v>
                </c:pt>
                <c:pt idx="83">
                  <c:v>94</c:v>
                </c:pt>
                <c:pt idx="84">
                  <c:v>85</c:v>
                </c:pt>
                <c:pt idx="85">
                  <c:v>81</c:v>
                </c:pt>
                <c:pt idx="86">
                  <c:v>87</c:v>
                </c:pt>
                <c:pt idx="87">
                  <c:v>87</c:v>
                </c:pt>
                <c:pt idx="88">
                  <c:v>79</c:v>
                </c:pt>
                <c:pt idx="89">
                  <c:v>80</c:v>
                </c:pt>
                <c:pt idx="90">
                  <c:v>76</c:v>
                </c:pt>
                <c:pt idx="91">
                  <c:v>74</c:v>
                </c:pt>
                <c:pt idx="92">
                  <c:v>76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08.12523521508541</c:v>
                </c:pt>
                <c:pt idx="71">
                  <c:v>106.01856006136236</c:v>
                </c:pt>
                <c:pt idx="72">
                  <c:v>103.84707435818608</c:v>
                </c:pt>
                <c:pt idx="73">
                  <c:v>101.616244908944</c:v>
                </c:pt>
                <c:pt idx="74">
                  <c:v>99.323765237076984</c:v>
                </c:pt>
                <c:pt idx="75">
                  <c:v>96.967227774789791</c:v>
                </c:pt>
                <c:pt idx="76">
                  <c:v>94.60854644352726</c:v>
                </c:pt>
                <c:pt idx="77">
                  <c:v>92.23912956860832</c:v>
                </c:pt>
                <c:pt idx="78">
                  <c:v>89.80707994372969</c:v>
                </c:pt>
                <c:pt idx="79">
                  <c:v>87.324253864966991</c:v>
                </c:pt>
                <c:pt idx="80">
                  <c:v>84.772398382805505</c:v>
                </c:pt>
                <c:pt idx="81">
                  <c:v>82.168105207178328</c:v>
                </c:pt>
                <c:pt idx="82">
                  <c:v>79.581328631673884</c:v>
                </c:pt>
                <c:pt idx="83">
                  <c:v>77.003994815088816</c:v>
                </c:pt>
                <c:pt idx="84">
                  <c:v>74.471361467521518</c:v>
                </c:pt>
                <c:pt idx="85">
                  <c:v>71.971686176869127</c:v>
                </c:pt>
                <c:pt idx="86">
                  <c:v>69.500541554167938</c:v>
                </c:pt>
                <c:pt idx="87">
                  <c:v>67.059679851333669</c:v>
                </c:pt>
                <c:pt idx="88">
                  <c:v>64.659513441575683</c:v>
                </c:pt>
                <c:pt idx="89">
                  <c:v>62.315079384833595</c:v>
                </c:pt>
                <c:pt idx="90">
                  <c:v>60.036931418311276</c:v>
                </c:pt>
                <c:pt idx="91">
                  <c:v>57.830702576835627</c:v>
                </c:pt>
                <c:pt idx="92">
                  <c:v>55.686597838282196</c:v>
                </c:pt>
                <c:pt idx="93">
                  <c:v>53.5958235124641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F81-4796-AFE7-473D7EF26445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08.41379301790353</c:v>
                </c:pt>
                <c:pt idx="71">
                  <c:v>106.71876541482176</c:v>
                </c:pt>
                <c:pt idx="72">
                  <c:v>105.05786644909327</c:v>
                </c:pt>
                <c:pt idx="73">
                  <c:v>103.4412217454484</c:v>
                </c:pt>
                <c:pt idx="74">
                  <c:v>101.86678866416896</c:v>
                </c:pt>
                <c:pt idx="75">
                  <c:v>100.31222979097595</c:v>
                </c:pt>
                <c:pt idx="76">
                  <c:v>98.827192294670837</c:v>
                </c:pt>
                <c:pt idx="77">
                  <c:v>97.391188158032392</c:v>
                </c:pt>
                <c:pt idx="78">
                  <c:v>95.950626915264792</c:v>
                </c:pt>
                <c:pt idx="79">
                  <c:v>94.504767965041111</c:v>
                </c:pt>
                <c:pt idx="80">
                  <c:v>93.023313651533556</c:v>
                </c:pt>
                <c:pt idx="81">
                  <c:v>91.508930341890149</c:v>
                </c:pt>
                <c:pt idx="82">
                  <c:v>90.015868337247895</c:v>
                </c:pt>
                <c:pt idx="83">
                  <c:v>88.527716087316378</c:v>
                </c:pt>
                <c:pt idx="84">
                  <c:v>87.073434089088323</c:v>
                </c:pt>
                <c:pt idx="85">
                  <c:v>85.633775889005761</c:v>
                </c:pt>
                <c:pt idx="86">
                  <c:v>84.200166632127193</c:v>
                </c:pt>
                <c:pt idx="87">
                  <c:v>82.768891889981134</c:v>
                </c:pt>
                <c:pt idx="88">
                  <c:v>81.34603891167815</c:v>
                </c:pt>
                <c:pt idx="89">
                  <c:v>79.943203867294514</c:v>
                </c:pt>
                <c:pt idx="90">
                  <c:v>78.567376470969293</c:v>
                </c:pt>
                <c:pt idx="91">
                  <c:v>77.221594953449824</c:v>
                </c:pt>
                <c:pt idx="92">
                  <c:v>75.895012347334429</c:v>
                </c:pt>
                <c:pt idx="93">
                  <c:v>74.5772199924511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F81-4796-AFE7-473D7EF26445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10.14497989471263</c:v>
                </c:pt>
                <c:pt idx="71">
                  <c:v>110.31457119065718</c:v>
                </c:pt>
                <c:pt idx="72">
                  <c:v>110.62004101154733</c:v>
                </c:pt>
                <c:pt idx="73">
                  <c:v>111.08109664308546</c:v>
                </c:pt>
                <c:pt idx="74">
                  <c:v>111.70788527129926</c:v>
                </c:pt>
                <c:pt idx="75">
                  <c:v>112.46419384511388</c:v>
                </c:pt>
                <c:pt idx="76">
                  <c:v>113.37288837472131</c:v>
                </c:pt>
                <c:pt idx="77">
                  <c:v>114.40816070766303</c:v>
                </c:pt>
                <c:pt idx="78">
                  <c:v>115.55395345442727</c:v>
                </c:pt>
                <c:pt idx="79">
                  <c:v>116.80196380906692</c:v>
                </c:pt>
                <c:pt idx="80">
                  <c:v>118.11498715122548</c:v>
                </c:pt>
                <c:pt idx="81">
                  <c:v>119.47807363132543</c:v>
                </c:pt>
                <c:pt idx="82">
                  <c:v>120.9174546539854</c:v>
                </c:pt>
                <c:pt idx="83">
                  <c:v>122.42013614158316</c:v>
                </c:pt>
                <c:pt idx="84">
                  <c:v>124.01035865856289</c:v>
                </c:pt>
                <c:pt idx="85">
                  <c:v>125.655641996177</c:v>
                </c:pt>
                <c:pt idx="86">
                  <c:v>127.34257674850025</c:v>
                </c:pt>
                <c:pt idx="87">
                  <c:v>129.07656534223449</c:v>
                </c:pt>
                <c:pt idx="88">
                  <c:v>130.91794530677976</c:v>
                </c:pt>
                <c:pt idx="89">
                  <c:v>132.86488351179645</c:v>
                </c:pt>
                <c:pt idx="90">
                  <c:v>134.91945333798731</c:v>
                </c:pt>
                <c:pt idx="91">
                  <c:v>137.07452114138482</c:v>
                </c:pt>
                <c:pt idx="92">
                  <c:v>139.31856098021987</c:v>
                </c:pt>
                <c:pt idx="93">
                  <c:v>141.637457047524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F81-4796-AFE7-473D7EF26445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110.25434459517757</c:v>
                </c:pt>
                <c:pt idx="71">
                  <c:v>110.58620839457666</c:v>
                </c:pt>
                <c:pt idx="72">
                  <c:v>111.10467791879888</c:v>
                </c:pt>
                <c:pt idx="73">
                  <c:v>111.83485609010016</c:v>
                </c:pt>
                <c:pt idx="74">
                  <c:v>112.79098123955038</c:v>
                </c:pt>
                <c:pt idx="75">
                  <c:v>113.92755333702071</c:v>
                </c:pt>
                <c:pt idx="76">
                  <c:v>115.26450691603077</c:v>
                </c:pt>
                <c:pt idx="77">
                  <c:v>116.77618692385667</c:v>
                </c:pt>
                <c:pt idx="78">
                  <c:v>118.45425704567305</c:v>
                </c:pt>
                <c:pt idx="79">
                  <c:v>120.28957017328315</c:v>
                </c:pt>
                <c:pt idx="80">
                  <c:v>122.24213091150105</c:v>
                </c:pt>
                <c:pt idx="81">
                  <c:v>124.29243802068206</c:v>
                </c:pt>
                <c:pt idx="82">
                  <c:v>126.53782647189485</c:v>
                </c:pt>
                <c:pt idx="83">
                  <c:v>128.98833758723174</c:v>
                </c:pt>
                <c:pt idx="84">
                  <c:v>131.66888208491966</c:v>
                </c:pt>
                <c:pt idx="85">
                  <c:v>134.5409588580778</c:v>
                </c:pt>
                <c:pt idx="86">
                  <c:v>137.58608988555216</c:v>
                </c:pt>
                <c:pt idx="87">
                  <c:v>140.78286285286325</c:v>
                </c:pt>
                <c:pt idx="88">
                  <c:v>144.13931439039507</c:v>
                </c:pt>
                <c:pt idx="89">
                  <c:v>147.65509228220895</c:v>
                </c:pt>
                <c:pt idx="90">
                  <c:v>151.33453675013811</c:v>
                </c:pt>
                <c:pt idx="91">
                  <c:v>155.17179030051926</c:v>
                </c:pt>
                <c:pt idx="92">
                  <c:v>159.15579627887101</c:v>
                </c:pt>
                <c:pt idx="93">
                  <c:v>163.272815946359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F81-4796-AFE7-473D7EF26445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0</c:v>
                </c:pt>
                <c:pt idx="1">
                  <c:v>60</c:v>
                </c:pt>
                <c:pt idx="2">
                  <c:v>60</c:v>
                </c:pt>
                <c:pt idx="3">
                  <c:v>60</c:v>
                </c:pt>
                <c:pt idx="4">
                  <c:v>60</c:v>
                </c:pt>
                <c:pt idx="5">
                  <c:v>60</c:v>
                </c:pt>
                <c:pt idx="6">
                  <c:v>60</c:v>
                </c:pt>
                <c:pt idx="7">
                  <c:v>60</c:v>
                </c:pt>
                <c:pt idx="8">
                  <c:v>60</c:v>
                </c:pt>
                <c:pt idx="9">
                  <c:v>60</c:v>
                </c:pt>
                <c:pt idx="10">
                  <c:v>60</c:v>
                </c:pt>
                <c:pt idx="11">
                  <c:v>60</c:v>
                </c:pt>
                <c:pt idx="12">
                  <c:v>60</c:v>
                </c:pt>
                <c:pt idx="13">
                  <c:v>60</c:v>
                </c:pt>
                <c:pt idx="14">
                  <c:v>60</c:v>
                </c:pt>
                <c:pt idx="15">
                  <c:v>60</c:v>
                </c:pt>
                <c:pt idx="16">
                  <c:v>60</c:v>
                </c:pt>
                <c:pt idx="17">
                  <c:v>60</c:v>
                </c:pt>
                <c:pt idx="18">
                  <c:v>60</c:v>
                </c:pt>
                <c:pt idx="19">
                  <c:v>60</c:v>
                </c:pt>
                <c:pt idx="20">
                  <c:v>60</c:v>
                </c:pt>
                <c:pt idx="21">
                  <c:v>60</c:v>
                </c:pt>
                <c:pt idx="22">
                  <c:v>60</c:v>
                </c:pt>
                <c:pt idx="23">
                  <c:v>60</c:v>
                </c:pt>
                <c:pt idx="24">
                  <c:v>60</c:v>
                </c:pt>
                <c:pt idx="25">
                  <c:v>60</c:v>
                </c:pt>
                <c:pt idx="26">
                  <c:v>60</c:v>
                </c:pt>
                <c:pt idx="27">
                  <c:v>60</c:v>
                </c:pt>
                <c:pt idx="28">
                  <c:v>60</c:v>
                </c:pt>
                <c:pt idx="29">
                  <c:v>60</c:v>
                </c:pt>
                <c:pt idx="30">
                  <c:v>60</c:v>
                </c:pt>
                <c:pt idx="31">
                  <c:v>60</c:v>
                </c:pt>
                <c:pt idx="32">
                  <c:v>60</c:v>
                </c:pt>
                <c:pt idx="33">
                  <c:v>60</c:v>
                </c:pt>
                <c:pt idx="34">
                  <c:v>60</c:v>
                </c:pt>
                <c:pt idx="35">
                  <c:v>60</c:v>
                </c:pt>
                <c:pt idx="36">
                  <c:v>60</c:v>
                </c:pt>
                <c:pt idx="37">
                  <c:v>60</c:v>
                </c:pt>
                <c:pt idx="38">
                  <c:v>60</c:v>
                </c:pt>
                <c:pt idx="39">
                  <c:v>60</c:v>
                </c:pt>
                <c:pt idx="40">
                  <c:v>60</c:v>
                </c:pt>
                <c:pt idx="41">
                  <c:v>60</c:v>
                </c:pt>
                <c:pt idx="42">
                  <c:v>60</c:v>
                </c:pt>
                <c:pt idx="43">
                  <c:v>60</c:v>
                </c:pt>
                <c:pt idx="44">
                  <c:v>60</c:v>
                </c:pt>
                <c:pt idx="45">
                  <c:v>60</c:v>
                </c:pt>
                <c:pt idx="46">
                  <c:v>60</c:v>
                </c:pt>
                <c:pt idx="47">
                  <c:v>60</c:v>
                </c:pt>
                <c:pt idx="48">
                  <c:v>60</c:v>
                </c:pt>
                <c:pt idx="49">
                  <c:v>60</c:v>
                </c:pt>
                <c:pt idx="50">
                  <c:v>60</c:v>
                </c:pt>
                <c:pt idx="51">
                  <c:v>60</c:v>
                </c:pt>
                <c:pt idx="52">
                  <c:v>60</c:v>
                </c:pt>
                <c:pt idx="53">
                  <c:v>60</c:v>
                </c:pt>
                <c:pt idx="54">
                  <c:v>60</c:v>
                </c:pt>
                <c:pt idx="55">
                  <c:v>60</c:v>
                </c:pt>
                <c:pt idx="56">
                  <c:v>60</c:v>
                </c:pt>
                <c:pt idx="57">
                  <c:v>60</c:v>
                </c:pt>
                <c:pt idx="58">
                  <c:v>60</c:v>
                </c:pt>
                <c:pt idx="59">
                  <c:v>60</c:v>
                </c:pt>
                <c:pt idx="60">
                  <c:v>60</c:v>
                </c:pt>
                <c:pt idx="61">
                  <c:v>60</c:v>
                </c:pt>
                <c:pt idx="62">
                  <c:v>60</c:v>
                </c:pt>
                <c:pt idx="63">
                  <c:v>60</c:v>
                </c:pt>
                <c:pt idx="64">
                  <c:v>60</c:v>
                </c:pt>
                <c:pt idx="65">
                  <c:v>60</c:v>
                </c:pt>
                <c:pt idx="66">
                  <c:v>60</c:v>
                </c:pt>
                <c:pt idx="67">
                  <c:v>60</c:v>
                </c:pt>
                <c:pt idx="68">
                  <c:v>60</c:v>
                </c:pt>
                <c:pt idx="69">
                  <c:v>60</c:v>
                </c:pt>
                <c:pt idx="70">
                  <c:v>60</c:v>
                </c:pt>
                <c:pt idx="71">
                  <c:v>60</c:v>
                </c:pt>
                <c:pt idx="72">
                  <c:v>60</c:v>
                </c:pt>
                <c:pt idx="73">
                  <c:v>60</c:v>
                </c:pt>
                <c:pt idx="74">
                  <c:v>60</c:v>
                </c:pt>
                <c:pt idx="75">
                  <c:v>60</c:v>
                </c:pt>
                <c:pt idx="76">
                  <c:v>60</c:v>
                </c:pt>
                <c:pt idx="77">
                  <c:v>60</c:v>
                </c:pt>
                <c:pt idx="78">
                  <c:v>60</c:v>
                </c:pt>
                <c:pt idx="79">
                  <c:v>60</c:v>
                </c:pt>
                <c:pt idx="80">
                  <c:v>60</c:v>
                </c:pt>
                <c:pt idx="81">
                  <c:v>60</c:v>
                </c:pt>
                <c:pt idx="82">
                  <c:v>60</c:v>
                </c:pt>
                <c:pt idx="83">
                  <c:v>60</c:v>
                </c:pt>
                <c:pt idx="84">
                  <c:v>60</c:v>
                </c:pt>
                <c:pt idx="85">
                  <c:v>60</c:v>
                </c:pt>
                <c:pt idx="86">
                  <c:v>60</c:v>
                </c:pt>
                <c:pt idx="87">
                  <c:v>60</c:v>
                </c:pt>
                <c:pt idx="88">
                  <c:v>60</c:v>
                </c:pt>
                <c:pt idx="89">
                  <c:v>60</c:v>
                </c:pt>
                <c:pt idx="90">
                  <c:v>60</c:v>
                </c:pt>
                <c:pt idx="91">
                  <c:v>60</c:v>
                </c:pt>
                <c:pt idx="92">
                  <c:v>60</c:v>
                </c:pt>
                <c:pt idx="93">
                  <c:v>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2</c:v>
                </c:pt>
                <c:pt idx="1">
                  <c:v>91</c:v>
                </c:pt>
                <c:pt idx="2">
                  <c:v>97</c:v>
                </c:pt>
                <c:pt idx="3">
                  <c:v>106</c:v>
                </c:pt>
                <c:pt idx="4">
                  <c:v>103</c:v>
                </c:pt>
                <c:pt idx="5">
                  <c:v>102</c:v>
                </c:pt>
                <c:pt idx="6">
                  <c:v>107</c:v>
                </c:pt>
                <c:pt idx="7">
                  <c:v>106</c:v>
                </c:pt>
                <c:pt idx="8">
                  <c:v>99</c:v>
                </c:pt>
                <c:pt idx="9">
                  <c:v>109</c:v>
                </c:pt>
                <c:pt idx="10">
                  <c:v>116</c:v>
                </c:pt>
                <c:pt idx="11">
                  <c:v>114</c:v>
                </c:pt>
                <c:pt idx="12">
                  <c:v>118</c:v>
                </c:pt>
                <c:pt idx="13">
                  <c:v>118</c:v>
                </c:pt>
                <c:pt idx="14">
                  <c:v>112</c:v>
                </c:pt>
                <c:pt idx="15">
                  <c:v>112</c:v>
                </c:pt>
                <c:pt idx="16">
                  <c:v>112</c:v>
                </c:pt>
                <c:pt idx="17">
                  <c:v>110</c:v>
                </c:pt>
                <c:pt idx="18">
                  <c:v>111</c:v>
                </c:pt>
                <c:pt idx="19">
                  <c:v>105</c:v>
                </c:pt>
                <c:pt idx="20">
                  <c:v>106</c:v>
                </c:pt>
                <c:pt idx="21">
                  <c:v>107</c:v>
                </c:pt>
                <c:pt idx="22">
                  <c:v>108</c:v>
                </c:pt>
                <c:pt idx="23">
                  <c:v>110</c:v>
                </c:pt>
                <c:pt idx="24">
                  <c:v>119</c:v>
                </c:pt>
                <c:pt idx="25">
                  <c:v>118</c:v>
                </c:pt>
                <c:pt idx="26">
                  <c:v>123</c:v>
                </c:pt>
                <c:pt idx="27">
                  <c:v>119</c:v>
                </c:pt>
                <c:pt idx="28">
                  <c:v>112</c:v>
                </c:pt>
                <c:pt idx="29">
                  <c:v>117</c:v>
                </c:pt>
                <c:pt idx="30">
                  <c:v>126</c:v>
                </c:pt>
                <c:pt idx="31">
                  <c:v>126</c:v>
                </c:pt>
                <c:pt idx="32">
                  <c:v>133</c:v>
                </c:pt>
                <c:pt idx="33">
                  <c:v>124</c:v>
                </c:pt>
                <c:pt idx="34">
                  <c:v>129</c:v>
                </c:pt>
                <c:pt idx="35">
                  <c:v>129</c:v>
                </c:pt>
                <c:pt idx="36">
                  <c:v>127</c:v>
                </c:pt>
                <c:pt idx="37">
                  <c:v>126</c:v>
                </c:pt>
                <c:pt idx="38">
                  <c:v>130</c:v>
                </c:pt>
                <c:pt idx="39">
                  <c:v>129</c:v>
                </c:pt>
                <c:pt idx="40">
                  <c:v>126</c:v>
                </c:pt>
                <c:pt idx="41">
                  <c:v>127</c:v>
                </c:pt>
                <c:pt idx="42">
                  <c:v>119</c:v>
                </c:pt>
                <c:pt idx="43">
                  <c:v>119</c:v>
                </c:pt>
                <c:pt idx="44">
                  <c:v>123</c:v>
                </c:pt>
                <c:pt idx="45">
                  <c:v>125</c:v>
                </c:pt>
                <c:pt idx="46">
                  <c:v>127</c:v>
                </c:pt>
                <c:pt idx="47">
                  <c:v>132</c:v>
                </c:pt>
                <c:pt idx="48">
                  <c:v>125</c:v>
                </c:pt>
                <c:pt idx="49">
                  <c:v>124</c:v>
                </c:pt>
                <c:pt idx="50">
                  <c:v>111</c:v>
                </c:pt>
                <c:pt idx="51">
                  <c:v>116</c:v>
                </c:pt>
                <c:pt idx="52">
                  <c:v>116</c:v>
                </c:pt>
                <c:pt idx="53">
                  <c:v>116</c:v>
                </c:pt>
                <c:pt idx="54">
                  <c:v>115</c:v>
                </c:pt>
                <c:pt idx="55">
                  <c:v>118</c:v>
                </c:pt>
                <c:pt idx="56">
                  <c:v>120</c:v>
                </c:pt>
                <c:pt idx="57">
                  <c:v>121</c:v>
                </c:pt>
                <c:pt idx="58">
                  <c:v>124</c:v>
                </c:pt>
                <c:pt idx="59">
                  <c:v>137</c:v>
                </c:pt>
                <c:pt idx="60">
                  <c:v>122</c:v>
                </c:pt>
                <c:pt idx="61">
                  <c:v>113</c:v>
                </c:pt>
                <c:pt idx="62">
                  <c:v>116</c:v>
                </c:pt>
                <c:pt idx="63">
                  <c:v>115</c:v>
                </c:pt>
                <c:pt idx="64">
                  <c:v>117</c:v>
                </c:pt>
                <c:pt idx="65">
                  <c:v>114</c:v>
                </c:pt>
                <c:pt idx="66">
                  <c:v>119</c:v>
                </c:pt>
                <c:pt idx="67">
                  <c:v>119</c:v>
                </c:pt>
                <c:pt idx="68">
                  <c:v>121</c:v>
                </c:pt>
                <c:pt idx="69">
                  <c:v>116</c:v>
                </c:pt>
                <c:pt idx="70">
                  <c:v>115</c:v>
                </c:pt>
                <c:pt idx="71">
                  <c:v>106</c:v>
                </c:pt>
                <c:pt idx="72">
                  <c:v>110</c:v>
                </c:pt>
                <c:pt idx="73">
                  <c:v>112</c:v>
                </c:pt>
                <c:pt idx="74">
                  <c:v>119</c:v>
                </c:pt>
                <c:pt idx="75">
                  <c:v>119</c:v>
                </c:pt>
                <c:pt idx="76">
                  <c:v>114</c:v>
                </c:pt>
                <c:pt idx="77">
                  <c:v>113</c:v>
                </c:pt>
                <c:pt idx="78">
                  <c:v>112</c:v>
                </c:pt>
                <c:pt idx="79">
                  <c:v>117</c:v>
                </c:pt>
                <c:pt idx="80">
                  <c:v>115</c:v>
                </c:pt>
                <c:pt idx="81">
                  <c:v>101</c:v>
                </c:pt>
                <c:pt idx="82">
                  <c:v>97</c:v>
                </c:pt>
                <c:pt idx="83">
                  <c:v>99</c:v>
                </c:pt>
                <c:pt idx="84">
                  <c:v>95</c:v>
                </c:pt>
                <c:pt idx="85">
                  <c:v>88</c:v>
                </c:pt>
                <c:pt idx="86">
                  <c:v>89</c:v>
                </c:pt>
                <c:pt idx="87">
                  <c:v>91</c:v>
                </c:pt>
                <c:pt idx="88">
                  <c:v>82</c:v>
                </c:pt>
                <c:pt idx="89">
                  <c:v>81</c:v>
                </c:pt>
                <c:pt idx="90">
                  <c:v>74</c:v>
                </c:pt>
                <c:pt idx="91">
                  <c:v>73</c:v>
                </c:pt>
                <c:pt idx="92">
                  <c:v>77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09.38944204852037</c:v>
                </c:pt>
                <c:pt idx="71">
                  <c:v>107.16365241844126</c:v>
                </c:pt>
                <c:pt idx="72">
                  <c:v>104.8804487185469</c:v>
                </c:pt>
                <c:pt idx="73">
                  <c:v>102.54796152925047</c:v>
                </c:pt>
                <c:pt idx="74">
                  <c:v>100.17172973926941</c:v>
                </c:pt>
                <c:pt idx="75">
                  <c:v>97.739106970060334</c:v>
                </c:pt>
                <c:pt idx="76">
                  <c:v>95.306806612133784</c:v>
                </c:pt>
                <c:pt idx="77">
                  <c:v>92.876739965574203</c:v>
                </c:pt>
                <c:pt idx="78">
                  <c:v>90.386907821145769</c:v>
                </c:pt>
                <c:pt idx="79">
                  <c:v>87.858101360607193</c:v>
                </c:pt>
                <c:pt idx="80">
                  <c:v>85.265649591374029</c:v>
                </c:pt>
                <c:pt idx="81">
                  <c:v>82.622645238616371</c:v>
                </c:pt>
                <c:pt idx="82">
                  <c:v>80.001454178692285</c:v>
                </c:pt>
                <c:pt idx="83">
                  <c:v>77.391963932752844</c:v>
                </c:pt>
                <c:pt idx="84">
                  <c:v>74.833089727512771</c:v>
                </c:pt>
                <c:pt idx="85">
                  <c:v>72.311585308676001</c:v>
                </c:pt>
                <c:pt idx="86">
                  <c:v>69.823329904207796</c:v>
                </c:pt>
                <c:pt idx="87">
                  <c:v>67.369538290547951</c:v>
                </c:pt>
                <c:pt idx="88">
                  <c:v>64.957920448642327</c:v>
                </c:pt>
                <c:pt idx="89">
                  <c:v>62.60521676510804</c:v>
                </c:pt>
                <c:pt idx="90">
                  <c:v>60.321383172892894</c:v>
                </c:pt>
                <c:pt idx="91">
                  <c:v>58.113372099329055</c:v>
                </c:pt>
                <c:pt idx="92">
                  <c:v>55.969648996757421</c:v>
                </c:pt>
                <c:pt idx="93">
                  <c:v>53.879809208422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69B-4089-8434-949127744B71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09.67290672045581</c:v>
                </c:pt>
                <c:pt idx="71">
                  <c:v>107.8522142028045</c:v>
                </c:pt>
                <c:pt idx="72">
                  <c:v>106.07131126930864</c:v>
                </c:pt>
                <c:pt idx="73">
                  <c:v>104.34369076105469</c:v>
                </c:pt>
                <c:pt idx="74">
                  <c:v>102.6747646581122</c:v>
                </c:pt>
                <c:pt idx="75">
                  <c:v>101.03272642020306</c:v>
                </c:pt>
                <c:pt idx="76">
                  <c:v>99.462556948674333</c:v>
                </c:pt>
                <c:pt idx="77">
                  <c:v>97.95511339331199</c:v>
                </c:pt>
                <c:pt idx="78">
                  <c:v>96.446470782147557</c:v>
                </c:pt>
                <c:pt idx="79">
                  <c:v>94.94477591027794</c:v>
                </c:pt>
                <c:pt idx="80">
                  <c:v>93.413220764589198</c:v>
                </c:pt>
                <c:pt idx="81">
                  <c:v>91.851072739942055</c:v>
                </c:pt>
                <c:pt idx="82">
                  <c:v>90.315248948511908</c:v>
                </c:pt>
                <c:pt idx="83">
                  <c:v>88.786948541927501</c:v>
                </c:pt>
                <c:pt idx="84">
                  <c:v>87.29883091595687</c:v>
                </c:pt>
                <c:pt idx="85">
                  <c:v>85.830251212320903</c:v>
                </c:pt>
                <c:pt idx="86">
                  <c:v>84.372913778784067</c:v>
                </c:pt>
                <c:pt idx="87">
                  <c:v>82.922476958024532</c:v>
                </c:pt>
                <c:pt idx="88">
                  <c:v>81.482549117850667</c:v>
                </c:pt>
                <c:pt idx="89">
                  <c:v>80.066245158660607</c:v>
                </c:pt>
                <c:pt idx="90">
                  <c:v>78.680067736402293</c:v>
                </c:pt>
                <c:pt idx="91">
                  <c:v>77.328234320563041</c:v>
                </c:pt>
                <c:pt idx="92">
                  <c:v>75.99825879699759</c:v>
                </c:pt>
                <c:pt idx="93">
                  <c:v>74.6780199651341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9B-4089-8434-949127744B71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11.71908763842674</c:v>
                </c:pt>
                <c:pt idx="71">
                  <c:v>112.03724241553616</c:v>
                </c:pt>
                <c:pt idx="72">
                  <c:v>112.45508674676549</c:v>
                </c:pt>
                <c:pt idx="73">
                  <c:v>112.99287424240913</c:v>
                </c:pt>
                <c:pt idx="74">
                  <c:v>113.66801246864745</c:v>
                </c:pt>
                <c:pt idx="75">
                  <c:v>114.44493847206635</c:v>
                </c:pt>
                <c:pt idx="76">
                  <c:v>115.34087193545209</c:v>
                </c:pt>
                <c:pt idx="77">
                  <c:v>116.34377712617983</c:v>
                </c:pt>
                <c:pt idx="78">
                  <c:v>117.43264544390755</c:v>
                </c:pt>
                <c:pt idx="79">
                  <c:v>118.61031617154988</c:v>
                </c:pt>
                <c:pt idx="80">
                  <c:v>119.83677902219972</c:v>
                </c:pt>
                <c:pt idx="81">
                  <c:v>121.09705020162616</c:v>
                </c:pt>
                <c:pt idx="82">
                  <c:v>122.42036168424164</c:v>
                </c:pt>
                <c:pt idx="83">
                  <c:v>123.79415650677069</c:v>
                </c:pt>
                <c:pt idx="84">
                  <c:v>125.24608851280078</c:v>
                </c:pt>
                <c:pt idx="85">
                  <c:v>126.74194810106161</c:v>
                </c:pt>
                <c:pt idx="86">
                  <c:v>128.27019213892305</c:v>
                </c:pt>
                <c:pt idx="87">
                  <c:v>129.84164287804188</c:v>
                </c:pt>
                <c:pt idx="88">
                  <c:v>131.53211148186139</c:v>
                </c:pt>
                <c:pt idx="89">
                  <c:v>133.3383403695471</c:v>
                </c:pt>
                <c:pt idx="90">
                  <c:v>135.26228709212455</c:v>
                </c:pt>
                <c:pt idx="91">
                  <c:v>137.29654809080589</c:v>
                </c:pt>
                <c:pt idx="92">
                  <c:v>139.42970763094272</c:v>
                </c:pt>
                <c:pt idx="93">
                  <c:v>141.646055739345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69B-4089-8434-949127744B71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111.81610471141983</c:v>
                </c:pt>
                <c:pt idx="71">
                  <c:v>112.27821090288407</c:v>
                </c:pt>
                <c:pt idx="72">
                  <c:v>112.88500658384349</c:v>
                </c:pt>
                <c:pt idx="73">
                  <c:v>113.66153181637378</c:v>
                </c:pt>
                <c:pt idx="74">
                  <c:v>114.62882340822503</c:v>
                </c:pt>
                <c:pt idx="75">
                  <c:v>115.74307995682241</c:v>
                </c:pt>
                <c:pt idx="76">
                  <c:v>117.01892064145241</c:v>
                </c:pt>
                <c:pt idx="77">
                  <c:v>118.44444554377097</c:v>
                </c:pt>
                <c:pt idx="78">
                  <c:v>120.00549540388366</c:v>
                </c:pt>
                <c:pt idx="79">
                  <c:v>121.704160526903</c:v>
                </c:pt>
                <c:pt idx="80">
                  <c:v>123.4979549385732</c:v>
                </c:pt>
                <c:pt idx="81">
                  <c:v>125.36785732121672</c:v>
                </c:pt>
                <c:pt idx="82">
                  <c:v>127.43561355499411</c:v>
                </c:pt>
                <c:pt idx="83">
                  <c:v>129.71763176125273</c:v>
                </c:pt>
                <c:pt idx="84">
                  <c:v>132.24153832991914</c:v>
                </c:pt>
                <c:pt idx="85">
                  <c:v>134.96571059956375</c:v>
                </c:pt>
                <c:pt idx="86">
                  <c:v>137.87237759169372</c:v>
                </c:pt>
                <c:pt idx="87">
                  <c:v>140.93858722342907</c:v>
                </c:pt>
                <c:pt idx="88">
                  <c:v>144.17307238792716</c:v>
                </c:pt>
                <c:pt idx="89">
                  <c:v>147.57375894883711</c:v>
                </c:pt>
                <c:pt idx="90">
                  <c:v>151.1452554640876</c:v>
                </c:pt>
                <c:pt idx="91">
                  <c:v>154.88152660966705</c:v>
                </c:pt>
                <c:pt idx="92">
                  <c:v>158.77172007010316</c:v>
                </c:pt>
                <c:pt idx="93">
                  <c:v>162.800525726177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9B-4089-8434-949127744B7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95</c:v>
                </c:pt>
                <c:pt idx="1">
                  <c:v>95</c:v>
                </c:pt>
                <c:pt idx="2">
                  <c:v>95</c:v>
                </c:pt>
                <c:pt idx="3">
                  <c:v>95</c:v>
                </c:pt>
                <c:pt idx="4">
                  <c:v>95</c:v>
                </c:pt>
                <c:pt idx="5">
                  <c:v>95</c:v>
                </c:pt>
                <c:pt idx="6">
                  <c:v>95</c:v>
                </c:pt>
                <c:pt idx="7">
                  <c:v>95</c:v>
                </c:pt>
                <c:pt idx="8">
                  <c:v>95</c:v>
                </c:pt>
                <c:pt idx="9">
                  <c:v>95</c:v>
                </c:pt>
                <c:pt idx="10">
                  <c:v>95</c:v>
                </c:pt>
                <c:pt idx="11">
                  <c:v>95</c:v>
                </c:pt>
                <c:pt idx="12">
                  <c:v>95</c:v>
                </c:pt>
                <c:pt idx="13">
                  <c:v>95</c:v>
                </c:pt>
                <c:pt idx="14">
                  <c:v>95</c:v>
                </c:pt>
                <c:pt idx="15">
                  <c:v>95</c:v>
                </c:pt>
                <c:pt idx="16">
                  <c:v>95</c:v>
                </c:pt>
                <c:pt idx="17">
                  <c:v>95</c:v>
                </c:pt>
                <c:pt idx="18">
                  <c:v>95</c:v>
                </c:pt>
                <c:pt idx="19">
                  <c:v>95</c:v>
                </c:pt>
                <c:pt idx="20">
                  <c:v>95</c:v>
                </c:pt>
                <c:pt idx="21">
                  <c:v>95</c:v>
                </c:pt>
                <c:pt idx="22">
                  <c:v>95</c:v>
                </c:pt>
                <c:pt idx="23">
                  <c:v>95</c:v>
                </c:pt>
                <c:pt idx="24">
                  <c:v>95</c:v>
                </c:pt>
                <c:pt idx="25">
                  <c:v>95</c:v>
                </c:pt>
                <c:pt idx="26">
                  <c:v>95</c:v>
                </c:pt>
                <c:pt idx="27">
                  <c:v>95</c:v>
                </c:pt>
                <c:pt idx="28">
                  <c:v>95</c:v>
                </c:pt>
                <c:pt idx="29">
                  <c:v>95</c:v>
                </c:pt>
                <c:pt idx="30">
                  <c:v>95</c:v>
                </c:pt>
                <c:pt idx="31">
                  <c:v>95</c:v>
                </c:pt>
                <c:pt idx="32">
                  <c:v>95</c:v>
                </c:pt>
                <c:pt idx="33">
                  <c:v>95</c:v>
                </c:pt>
                <c:pt idx="34">
                  <c:v>95</c:v>
                </c:pt>
                <c:pt idx="35">
                  <c:v>95</c:v>
                </c:pt>
                <c:pt idx="36">
                  <c:v>95</c:v>
                </c:pt>
                <c:pt idx="37">
                  <c:v>95</c:v>
                </c:pt>
                <c:pt idx="38">
                  <c:v>95</c:v>
                </c:pt>
                <c:pt idx="39">
                  <c:v>95</c:v>
                </c:pt>
                <c:pt idx="40">
                  <c:v>95</c:v>
                </c:pt>
                <c:pt idx="41">
                  <c:v>95</c:v>
                </c:pt>
                <c:pt idx="42">
                  <c:v>95</c:v>
                </c:pt>
                <c:pt idx="43">
                  <c:v>95</c:v>
                </c:pt>
                <c:pt idx="44">
                  <c:v>95</c:v>
                </c:pt>
                <c:pt idx="45">
                  <c:v>95</c:v>
                </c:pt>
                <c:pt idx="46">
                  <c:v>95</c:v>
                </c:pt>
                <c:pt idx="47">
                  <c:v>95</c:v>
                </c:pt>
                <c:pt idx="48">
                  <c:v>95</c:v>
                </c:pt>
                <c:pt idx="49">
                  <c:v>95</c:v>
                </c:pt>
                <c:pt idx="50">
                  <c:v>95</c:v>
                </c:pt>
                <c:pt idx="51">
                  <c:v>95</c:v>
                </c:pt>
                <c:pt idx="52">
                  <c:v>95</c:v>
                </c:pt>
                <c:pt idx="53">
                  <c:v>95</c:v>
                </c:pt>
                <c:pt idx="54">
                  <c:v>95</c:v>
                </c:pt>
                <c:pt idx="55">
                  <c:v>95</c:v>
                </c:pt>
                <c:pt idx="56">
                  <c:v>95</c:v>
                </c:pt>
                <c:pt idx="57">
                  <c:v>95</c:v>
                </c:pt>
                <c:pt idx="58">
                  <c:v>95</c:v>
                </c:pt>
                <c:pt idx="59">
                  <c:v>95</c:v>
                </c:pt>
                <c:pt idx="60">
                  <c:v>95</c:v>
                </c:pt>
                <c:pt idx="61">
                  <c:v>95</c:v>
                </c:pt>
                <c:pt idx="62">
                  <c:v>95</c:v>
                </c:pt>
                <c:pt idx="63">
                  <c:v>95</c:v>
                </c:pt>
                <c:pt idx="64">
                  <c:v>95</c:v>
                </c:pt>
                <c:pt idx="65">
                  <c:v>95</c:v>
                </c:pt>
                <c:pt idx="66">
                  <c:v>95</c:v>
                </c:pt>
                <c:pt idx="67">
                  <c:v>95</c:v>
                </c:pt>
                <c:pt idx="68">
                  <c:v>95</c:v>
                </c:pt>
                <c:pt idx="69">
                  <c:v>95</c:v>
                </c:pt>
                <c:pt idx="70">
                  <c:v>95</c:v>
                </c:pt>
                <c:pt idx="71">
                  <c:v>95</c:v>
                </c:pt>
                <c:pt idx="72">
                  <c:v>95</c:v>
                </c:pt>
                <c:pt idx="73">
                  <c:v>95</c:v>
                </c:pt>
                <c:pt idx="74">
                  <c:v>95</c:v>
                </c:pt>
                <c:pt idx="75">
                  <c:v>95</c:v>
                </c:pt>
                <c:pt idx="76">
                  <c:v>95</c:v>
                </c:pt>
                <c:pt idx="77">
                  <c:v>95</c:v>
                </c:pt>
                <c:pt idx="78">
                  <c:v>95</c:v>
                </c:pt>
                <c:pt idx="79">
                  <c:v>95</c:v>
                </c:pt>
                <c:pt idx="80">
                  <c:v>95</c:v>
                </c:pt>
                <c:pt idx="81">
                  <c:v>95</c:v>
                </c:pt>
                <c:pt idx="82">
                  <c:v>95</c:v>
                </c:pt>
                <c:pt idx="83">
                  <c:v>95</c:v>
                </c:pt>
                <c:pt idx="84">
                  <c:v>95</c:v>
                </c:pt>
                <c:pt idx="85">
                  <c:v>95</c:v>
                </c:pt>
                <c:pt idx="86">
                  <c:v>95</c:v>
                </c:pt>
                <c:pt idx="87">
                  <c:v>95</c:v>
                </c:pt>
                <c:pt idx="88">
                  <c:v>95</c:v>
                </c:pt>
                <c:pt idx="89">
                  <c:v>95</c:v>
                </c:pt>
                <c:pt idx="90">
                  <c:v>95</c:v>
                </c:pt>
                <c:pt idx="91">
                  <c:v>95</c:v>
                </c:pt>
                <c:pt idx="92">
                  <c:v>95</c:v>
                </c:pt>
                <c:pt idx="93">
                  <c:v>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49F641-8B08-492E-BBD7-40ACF6788728}" type="datetimeFigureOut">
              <a:rPr lang="cs-CZ" smtClean="0"/>
              <a:t>04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74A5B4-1B79-4F37-B1D1-18810C532CE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893929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026938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73722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648867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22758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521259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994728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917552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9940258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5659660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5265439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193178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3189439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0644333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2182039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045179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999499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4559257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3512761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1866680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493399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8367410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986583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3591319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778902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157833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360192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112704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078886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47679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957374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30238A-57B0-4F1D-8FF9-33390AD7AD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85523AF6-6B8B-40E3-93B0-4204C26341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5E68C4B-BB66-4B5C-9C16-E09CF2D321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C876515-348C-4A89-B087-F87CD03069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2F5EBC1-2CE4-424E-8139-A29603CC4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2728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2441A1F-F0A9-4DDD-851D-3550251E1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115E18BF-9909-490D-9479-A46709B8E2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66DDA25-10FD-47AB-A08F-AEA981BD9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24A5327-210C-4CA0-9845-EF4DEED3E5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032F2A-07F5-48BF-A381-F9589A677E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235507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FCC64D39-090E-4706-B854-36A08941984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7D16DA3D-B814-4F1B-BEF6-F67B0A01EC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88B62E-B6F3-47C5-BE7E-5CCF6DE9E6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58CAFAB-84A5-4F2C-AC60-54CE920BC5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F326232-9918-4D71-9FFD-00976CC77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877690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6128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614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824624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35892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4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361705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A64615B-B636-4039-BC86-B20FA0C22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686E7F13-05D4-47E2-B062-FB149D83DA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BB92DDC-F499-4DDA-9C62-B6A0B38FE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CCD2CEC-6F78-4E89-92FD-D16A99450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EB1239F-F719-4B37-92A9-5E5B1BB74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07228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BF39F6-2D47-43A4-96BF-5EE6AC494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80EC2D4-5185-42BE-8266-08B291CBE4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6B743A0-3FEC-4D90-8AC9-DB87E716F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E28AB84-9F54-4C85-BF4D-3DEDAC9E5E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AD53DEA-0D27-47B9-8B94-7D3061257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98590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063AC31-1609-4BB5-AECB-CD025D7C2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DC052899-D486-4AD5-9B7F-D42350CAD49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A1981B2-9EFB-4322-9C7B-C577055FB7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5E5FD625-567F-4E56-93E2-A0DE2369C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4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C31B977-F456-42DE-AD8D-3FFDC70576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8E8F7E02-0B1A-4C5E-900F-FF241B8F7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67540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BF6C006-6088-455C-81F3-EA4183378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3F31E1A-E3CD-4504-A702-5B706CC6EC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627730D-7434-4198-BF1C-C604889517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1FCF36F5-3DCC-4833-BC0C-EBAB9B9040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CA442FE-A13E-44FE-A9C1-402E2C53EF2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9E76946-D378-48A1-A800-01FF1A9EF2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4.04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41CF45DC-C4D7-4680-8548-D5D4B7E39A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DF4DA369-2F49-4206-9E26-EFB787948C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6493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519F910-EC25-49C0-B026-56746DEA58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3DD96CD7-B01A-4F34-AAD9-6E38FA6D1E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4.04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EE5C4440-CC3C-433E-991A-42B6F11522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D70B27C2-09D1-4BA3-B6EB-44D5386CB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86305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CD84F022-E918-4978-8921-4500AA6227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4.04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7B8F4BB3-1FB6-437A-BBE1-4C934F196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8262D6E-74A3-4C10-A33E-E40A373EE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44699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5A0C74-345F-4200-8159-E16B9E7BD1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F397F97-F035-4CE5-AC97-5EF6A8028C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664BE1E-B4B6-4306-B2C7-57A22EE207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D7FA503-E644-41C1-81D3-B616C7C4C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4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6BE9CD1-39C1-4567-8E58-731290EE4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D48AC61-C0E2-4247-8215-9CF76AD5B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435154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B2F419E-288C-46C6-898D-254A41706A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B1F92B9F-3F90-4BD3-B6CA-71D1320B7E9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6AF52DA7-9973-47D4-934A-65C721DFBD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CBB338D-7400-4CD2-AAB1-8E67B98252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4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529E4E6-0FD8-411C-BA30-E762725A36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EE65E6B-B2B2-48E6-ABBE-1AFE69FEEC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66782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7C2EF0D3-6C36-436E-8168-92954D40B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9EFEF33-91B4-4440-BBB1-28F8FAD9D1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1931A3-5C5F-4892-BC44-87158DFD54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0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04215F5-1033-4764-BA77-01DE658829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EF84541-B5BC-4212-83F3-07537F03C7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61946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0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2056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chart" Target="../charts/chart9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chart" Target="../charts/chart10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chart" Target="../charts/chart1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chart" Target="../charts/chart1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chart" Target="../charts/chart13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chart" Target="../charts/chart14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chart" Target="../charts/chart15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chart" Target="../charts/chart16.xml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chart" Target="../charts/chart17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chart" Target="../charts/chart18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chart" Target="../charts/chart19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chart" Target="../charts/chart20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chart" Target="../charts/chart21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3" Type="http://schemas.openxmlformats.org/officeDocument/2006/relationships/tags" Target="../tags/tag86.xml"/><Relationship Id="rId7" Type="http://schemas.openxmlformats.org/officeDocument/2006/relationships/notesSlide" Target="../notesSlides/notesSlide22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88.xml"/><Relationship Id="rId4" Type="http://schemas.openxmlformats.org/officeDocument/2006/relationships/tags" Target="../tags/tag8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chart" Target="../charts/chart23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chart" Target="../charts/chart24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chart" Target="../charts/chart25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chart" Target="../charts/chart26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chart" Target="../charts/chart27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chart" Target="../charts/chart2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7" Type="http://schemas.openxmlformats.org/officeDocument/2006/relationships/chart" Target="../charts/chart28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chart" Target="../charts/chart29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chart" Target="../charts/chart30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chart" Target="../charts/chart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chart" Target="../charts/chart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chart" Target="../charts/chart5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chart" Target="../charts/chart6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chart" Target="../charts/chart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chart" Target="../charts/chart8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redikce aktuálního počtu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89307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2205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graphicFrame>
        <p:nvGraphicFramePr>
          <p:cNvPr id="41" name="Chart 11">
            <a:extLst>
              <a:ext uri="{FF2B5EF4-FFF2-40B4-BE49-F238E27FC236}">
                <a16:creationId xmlns:a16="http://schemas.microsoft.com/office/drawing/2014/main" id="{7F2AD4E1-7A65-46B2-90B5-F5CE5E71D6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24499758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2" name="TextBox 14">
            <a:extLst>
              <a:ext uri="{FF2B5EF4-FFF2-40B4-BE49-F238E27FC236}">
                <a16:creationId xmlns:a16="http://schemas.microsoft.com/office/drawing/2014/main" id="{108D794C-B7A2-42EE-A851-82491D3CCE0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21B8F6F7-7776-4992-9293-49306873887C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5" name="Skupina 44">
            <a:extLst>
              <a:ext uri="{FF2B5EF4-FFF2-40B4-BE49-F238E27FC236}">
                <a16:creationId xmlns:a16="http://schemas.microsoft.com/office/drawing/2014/main" id="{016B4913-743B-4226-9C62-28E8BB4F349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24681716-573E-48D2-9B49-80FC11FA754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F0040210-500F-4779-B771-FE87EBF37DF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15E25C4A-9128-4337-BABF-950A8D824B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4250146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1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0D19A8BB-2E32-4A7E-B9B0-EC406AD4084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072E36F9-A465-42C9-9CFC-B5761D0AF3A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6F810104-17EE-44FB-AC63-6551AC0752B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EF30601C-1658-42D9-926B-DDDAAF5234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84FA9B40-2407-4DD2-890D-237AE5F53A5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C673C5B7-0878-4D78-ACA0-7D77D164EFA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6FA9CE8C-9FB1-442A-8641-9ADE0ACD526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53FB0C5-0ED5-49C9-AC56-C6459ABB898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35B3B6D2-8700-462A-BC1C-51C0E0B76BD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7691282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2"/>
            <a:ext cx="1957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951A147-3326-464E-96B3-0CFB64D2BC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89752850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FE96C61C-4228-4803-9FA1-E8D9B9DC007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C5238020-2FDF-4C27-8EF7-785ECC94F32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0DEF6DCF-5768-44F1-9BE4-68754ACDD69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3F4971DF-8B8E-4128-BBAC-2CC01FA3BF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4CAFBD2C-ADE2-4D9F-B3E1-BCF4BEAD9B53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C3256250-B1E7-4B6A-AFE2-2581B92984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3073846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5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0D6165D-1CE6-4BF2-9CD6-4F316BB1050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10E8038D-3D21-49AF-A45D-C15E3A32D9D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CABD3452-2C97-4E53-A9EC-9F26E9CC07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A054E54F-87D5-4D07-9F5A-209FEA35853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3F6FE6E1-4986-4701-88D9-C05626C720A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CC26FC18-0F3C-47E6-AE66-0A1015EBBF1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0C89CCD7-4281-4CB3-866C-722BFF40945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DCBD40B-648F-4AE6-BB28-1A856C240DB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99BACD21-9214-4B5E-A620-5BC1BC83505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9089198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538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8AC455E-664D-4EAE-A854-2B7A9524CC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58812936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CC56B08B-E137-405B-85F8-5B318D60AB3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0579F26-D516-4B95-89FE-689248C5815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7AA1024C-A476-483F-857E-E3029C7176CC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E37A8565-5E0B-437E-A517-B1FAFBE3BE6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D50D1B3B-3BF9-462A-A554-53EF985C3A0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77EFAA47-F061-45DC-B5B5-0342D99827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0849314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4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762BA5A-A83C-4024-9A6F-178AC13C1A1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4B0D141-90BE-4FAD-B387-9C08F40F798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2D2E382B-385F-44C2-AB06-9F7B0C15D13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6359344C-45C0-4045-AFBD-C6CEAB307C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1A0D1566-6B7F-4D69-AE4D-455598DF632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13DE90B7-CA80-40C3-BC20-44198A5E15B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C6DECCA2-E9B7-41DD-AB2E-4AC93C50400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A44D430-4D8C-4C52-BCE2-711AD550A38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91F3AD2C-8EA5-4C40-A9B7-AA317CCBAD1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3252209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938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3FB8C91E-F901-4052-B68C-A2A4C499FF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5046018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67279542-D530-43E8-AEF3-8A836E084CF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76B79F1A-09A2-499B-9A91-14977CC726A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710B3569-1CE6-400E-8841-05CEF0779A9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51B05475-07AA-472C-BAD5-B339AD56A2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A3AAC7D5-EFB1-4BEE-9369-C6F32ECBAF3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19F57406-D4A6-4ABD-927F-2F6E3F0315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231714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4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82E559E8-389A-481C-BBCC-974844B29BEE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97EAB07A-F1AA-4673-B57B-7B35C9ED8BC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B72AD689-3A8F-4A7B-BA37-921475B7960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91E1CD1F-0409-4248-91C1-BC9F7DE6EBB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7242FD54-2910-487D-99F4-0F0B5BE4D38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6247B95C-DBB5-41D6-BE66-9B914EA43B0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CB72F871-4EDC-428B-A430-26FBF03959A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9835D628-3EC8-4810-B8BB-73B6EA83FAB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92A3A78B-3D27-4A21-AC4E-E964EE19969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8250001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900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3443ED8B-A64F-4382-B01C-E8F1B90F46F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75809376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0554ECB3-65E4-4F5A-82F7-DE172513E7F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8626477-7AE3-41C5-A0ED-8C343E9FA27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8" name="Skupina 37">
            <a:extLst>
              <a:ext uri="{FF2B5EF4-FFF2-40B4-BE49-F238E27FC236}">
                <a16:creationId xmlns:a16="http://schemas.microsoft.com/office/drawing/2014/main" id="{4C51820D-EDB4-42F9-87D0-F09AB2376DD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9" name="Straight Connector 33">
              <a:extLst>
                <a:ext uri="{FF2B5EF4-FFF2-40B4-BE49-F238E27FC236}">
                  <a16:creationId xmlns:a16="http://schemas.microsoft.com/office/drawing/2014/main" id="{D5FF521C-D8C5-407D-9CFD-47DECA2B3CF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4">
              <a:extLst>
                <a:ext uri="{FF2B5EF4-FFF2-40B4-BE49-F238E27FC236}">
                  <a16:creationId xmlns:a16="http://schemas.microsoft.com/office/drawing/2014/main" id="{CE84AD06-33CE-4FF5-A0E2-FB0F44AD67C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08BE4EE5-5764-4714-848F-B4FDBCEBAD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3850747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7D10D8F5-1FF5-4BAA-9E5D-34D296A2CFF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57719FD6-890B-40D6-AE07-BA61733CAAD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6C57C42A-A01E-4012-96FB-657EC052FBD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3F604048-0942-40C5-AD93-F5AA7CB9C17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2E2F256D-43BB-409C-B5D1-53ADF1AA0E4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26CFBD33-A818-4CFC-B618-8BD4C605BA0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6AEE969D-44A2-4EDD-A098-25F94CDC232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A5B0642D-22C7-4FCA-8276-E565342B56F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A7B09210-FA6C-4A68-8C2A-4395EE3915E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3668579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748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 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520BB09D-3596-4C80-9CC7-DF04A1B24C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8292609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A391BBAD-A914-4721-9D45-7BA579964FB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68328EE0-0FD7-4A74-A962-1445D43705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2" name="Skupina 31">
            <a:extLst>
              <a:ext uri="{FF2B5EF4-FFF2-40B4-BE49-F238E27FC236}">
                <a16:creationId xmlns:a16="http://schemas.microsoft.com/office/drawing/2014/main" id="{9CEDF323-1A71-4A13-B2E2-ADA0517F52D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9" name="Straight Connector 33">
              <a:extLst>
                <a:ext uri="{FF2B5EF4-FFF2-40B4-BE49-F238E27FC236}">
                  <a16:creationId xmlns:a16="http://schemas.microsoft.com/office/drawing/2014/main" id="{74EFB9E0-76D0-4223-8784-919ED1B4CC7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4">
              <a:extLst>
                <a:ext uri="{FF2B5EF4-FFF2-40B4-BE49-F238E27FC236}">
                  <a16:creationId xmlns:a16="http://schemas.microsoft.com/office/drawing/2014/main" id="{95B44876-ED0C-4E88-B4AC-B71072BDB7A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00690CA7-F457-4295-8F43-49EF93902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631586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5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0BBB3A4-7452-4D61-B39A-404E2A68254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C5223820-97F6-4D7D-84D9-239DBDDE2C9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CC3F25A1-449A-4684-A14E-EEE33E4951C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51C7BFC7-1040-45D1-8CBF-2A996FDC6CD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954D9387-6414-4B41-84A3-99594870A04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E5A5BA75-0E1D-46BE-91F8-8A893C46332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D849B96A-ABE8-4EB9-B14F-10E2A71FB95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34A5BFBA-6E5B-4AC3-BF31-17ADF367EC6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AA4245AC-1D6F-4F30-B91D-7F88D19977C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42070410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2319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25E0FC16-29C7-4E91-9F68-34B77A9284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20194195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7B072D3B-0CF3-42BC-8EF2-C44DCC70325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EB4ED20-614B-41F8-A146-F6E5F2C22BF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8" name="Skupina 37">
            <a:extLst>
              <a:ext uri="{FF2B5EF4-FFF2-40B4-BE49-F238E27FC236}">
                <a16:creationId xmlns:a16="http://schemas.microsoft.com/office/drawing/2014/main" id="{A370D2B6-768B-41A0-AE4C-CCAA2CC1DC1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9" name="Straight Connector 33">
              <a:extLst>
                <a:ext uri="{FF2B5EF4-FFF2-40B4-BE49-F238E27FC236}">
                  <a16:creationId xmlns:a16="http://schemas.microsoft.com/office/drawing/2014/main" id="{6EFD248A-1639-4DE9-8AFB-F78D877C94F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4">
              <a:extLst>
                <a:ext uri="{FF2B5EF4-FFF2-40B4-BE49-F238E27FC236}">
                  <a16:creationId xmlns:a16="http://schemas.microsoft.com/office/drawing/2014/main" id="{FF2A04C6-AE00-4816-BD7F-A0D8E394286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ABEDA5C7-21AF-492A-B8C2-E48C5550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7952539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4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238A2DF-8E4E-4395-9B97-142DF064C46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F7AAD07-1B8C-41AC-9BD7-5E4763DE1F1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43601F6C-83A3-488A-8A5E-C9036AEBEA5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43174F3B-DE80-41D2-89D2-F546587D80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4364E75-EA20-469B-AFA5-67EC401D89D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9E9E5CB9-E14E-41CA-914E-9F09F9CA1D2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AACA85C1-A1C0-4E60-91EB-8EE9024F065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F7D71D0B-8317-44B5-805A-0CE1DAA9F0A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1D071B78-F9A1-4784-B441-AC83B2B6D04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5592895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4" y="3905251"/>
            <a:ext cx="11553825" cy="2009774"/>
          </a:xfrm>
        </p:spPr>
        <p:txBody>
          <a:bodyPr>
            <a:normAutofit fontScale="92500"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Validace modelů: kumulativní počet nových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49875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 – predikce kumulativního počtu nových případů (od 1.1.2021)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70A36FB4-FE08-4AFE-98E4-D07769B07F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705105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839C497B-633E-4701-87EE-F7E00F9A171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5B5FAF48-1DB4-4C1A-B49C-64B836075C5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2" name="Skupina 31">
            <a:extLst>
              <a:ext uri="{FF2B5EF4-FFF2-40B4-BE49-F238E27FC236}">
                <a16:creationId xmlns:a16="http://schemas.microsoft.com/office/drawing/2014/main" id="{D92383F3-E847-4CCB-BA7A-29B0C8C8397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33" name="Straight Connector 33">
              <a:extLst>
                <a:ext uri="{FF2B5EF4-FFF2-40B4-BE49-F238E27FC236}">
                  <a16:creationId xmlns:a16="http://schemas.microsoft.com/office/drawing/2014/main" id="{1088E4A7-66EF-4B95-85C2-674BE38C1FF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4">
              <a:extLst>
                <a:ext uri="{FF2B5EF4-FFF2-40B4-BE49-F238E27FC236}">
                  <a16:creationId xmlns:a16="http://schemas.microsoft.com/office/drawing/2014/main" id="{EC4CA97C-E44A-41D6-A163-28A1790D185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CA8FC346-C03D-4776-BE8D-2D628632B8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834808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A2316A9-A0E5-44E4-81D7-803ADDCB3D6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3" name="Přímá spojnice 12">
              <a:extLst>
                <a:ext uri="{FF2B5EF4-FFF2-40B4-BE49-F238E27FC236}">
                  <a16:creationId xmlns:a16="http://schemas.microsoft.com/office/drawing/2014/main" id="{D4A8FC95-33B3-476C-A080-CDDA6987A82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4F3EE9EB-AEAE-45E6-A885-A61AA1CA9DE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767E49B2-A434-4326-BEC6-2D8BD4F53D4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2AE04A3-A919-4790-BDAA-A92A3E9FD7D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4E4C208B-C896-465B-B8E6-1E0FD32DA62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726B7150-4641-4DE5-9D73-F79C00BFBE6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807020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 – predikce kumulativního počtu nových případů (od 1.1.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C9C59CA4-CCB2-45C8-8EF7-274A356B6F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7144648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BDA760EC-F895-4EB2-9449-61566DFAEA1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61A21E3-1BE0-4CB6-9DB8-6CC1EB48386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EC1B2229-BA11-42F6-9625-F5D1E9BBBB7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1FC1CA41-5F9E-470C-8795-CE04F9D6A49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EDF47B57-3022-4E0D-8A62-6817EF953902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0" name="Tabulka 2">
            <a:extLst>
              <a:ext uri="{FF2B5EF4-FFF2-40B4-BE49-F238E27FC236}">
                <a16:creationId xmlns:a16="http://schemas.microsoft.com/office/drawing/2014/main" id="{7269286A-4518-4B1A-BDAB-E421B90B0B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3118530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B70567C2-CD1C-4092-B080-5FCCE05A3AD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38A81B09-7104-456B-B115-B16B7073870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4EF0FA68-EAE2-4B4C-886F-FE65D4663C0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4DE788E2-0307-44AF-90CD-8726CD6113C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C779CCCB-6E63-46CF-BC1F-325A3232171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33254557-D451-4C03-86D6-29E9473468F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8468AD35-93BC-47E1-B2A7-CABD720B152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extBox 9">
            <a:extLst>
              <a:ext uri="{FF2B5EF4-FFF2-40B4-BE49-F238E27FC236}">
                <a16:creationId xmlns:a16="http://schemas.microsoft.com/office/drawing/2014/main" id="{2A2845E6-D3EC-46CA-B91B-6BB842DA25B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42432450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FFB92E0F-0B52-417A-BB34-405865A92B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1769840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17" name="TextBox 31">
            <a:extLst>
              <a:ext uri="{FF2B5EF4-FFF2-40B4-BE49-F238E27FC236}">
                <a16:creationId xmlns:a16="http://schemas.microsoft.com/office/drawing/2014/main" id="{EFD3DBCC-0951-4CCC-9F48-5D93B20D724A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7293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grpSp>
        <p:nvGrpSpPr>
          <p:cNvPr id="31" name="Skupina 30">
            <a:extLst>
              <a:ext uri="{FF2B5EF4-FFF2-40B4-BE49-F238E27FC236}">
                <a16:creationId xmlns:a16="http://schemas.microsoft.com/office/drawing/2014/main" id="{13D30170-EB7D-4726-BFFC-DB237EB911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2" name="Straight Connector 33">
              <a:extLst>
                <a:ext uri="{FF2B5EF4-FFF2-40B4-BE49-F238E27FC236}">
                  <a16:creationId xmlns:a16="http://schemas.microsoft.com/office/drawing/2014/main" id="{997C5BB9-65D5-4BDD-8812-07841821FF7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4">
              <a:extLst>
                <a:ext uri="{FF2B5EF4-FFF2-40B4-BE49-F238E27FC236}">
                  <a16:creationId xmlns:a16="http://schemas.microsoft.com/office/drawing/2014/main" id="{B371D5FE-B20C-4D1E-B431-53320B20EE0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4" name="Tabulka 2">
            <a:extLst>
              <a:ext uri="{FF2B5EF4-FFF2-40B4-BE49-F238E27FC236}">
                <a16:creationId xmlns:a16="http://schemas.microsoft.com/office/drawing/2014/main" id="{94B8F569-42E9-4DFC-AB13-17A08A06FC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4698649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 26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2" name="Skupina 11">
            <a:extLst>
              <a:ext uri="{FF2B5EF4-FFF2-40B4-BE49-F238E27FC236}">
                <a16:creationId xmlns:a16="http://schemas.microsoft.com/office/drawing/2014/main" id="{2729AB25-48DA-4F5C-83BF-06265DE0AE0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3" name="Přímá spojnice 12">
              <a:extLst>
                <a:ext uri="{FF2B5EF4-FFF2-40B4-BE49-F238E27FC236}">
                  <a16:creationId xmlns:a16="http://schemas.microsoft.com/office/drawing/2014/main" id="{EB955D61-13B3-40B6-A570-E4177A65129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6CCB9DEA-BE2F-41F2-9527-398A4AE4937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FFE45D3A-BBC3-4C2E-831C-463D264AFE0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2072430-1052-4511-9F5F-1D559DFBC97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59234C83-A7EB-4A39-B9AD-4DD2CF30ECF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A61BC7AB-AA91-4D6C-864A-A148C74092E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02CF92A-B107-4E0F-817F-50D75780D70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Box 9">
            <a:extLst>
              <a:ext uri="{FF2B5EF4-FFF2-40B4-BE49-F238E27FC236}">
                <a16:creationId xmlns:a16="http://schemas.microsoft.com/office/drawing/2014/main" id="{E8ADE306-C1BE-4AC3-AF4B-59A1E72603F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25426290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 – predikce kumulativního počtu nových případů (od 1.1.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622982BC-9960-45A6-95D4-125E705B4E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6188967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3F43502F-5763-4242-9402-FF04E391AA3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2A6EF79-7E82-4907-87AE-B81926A814E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14D23495-EFAC-4136-A899-74742EEAB2D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69E385ED-E543-4F72-BCF8-CB25C3BA32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28DFA151-6B25-4060-A636-F20C9AE2FD8F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E6DF5C13-44F6-4723-AE35-4CF2CAA8C8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23098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08EC64BD-CDC8-47E4-B30D-DE364DFB2C6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ACA4EC3-1CAC-4A68-8DE6-4FB3F3A3542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CBFB75E3-8C10-4276-A48D-2DEC99FFC68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91237D35-934E-41C4-A451-F6866090737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2815C1F-E73C-4BD3-B20C-56231309FED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F8ECBEB0-6BC2-49E1-B341-27A659934DB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765219A8-8A2A-441A-BA75-4D4F985C127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58250767-5868-451F-BE7B-D4358156BCF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0380518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F4F2A46-710C-4596-8DBC-EC836CA82E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3112335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 – predikce kumulativního počtu nových případů (od 1.1.2021)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9DB4CD35-6018-432F-8B4B-D04D1A69AD9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BF711CEA-4093-4E28-919B-0DFA7ABAB8D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C30C391E-49A1-46C7-A1E5-889E8ABBE77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A28D23CF-4B39-42EA-AE55-D693E923986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901A95EA-947C-416D-8234-9BBC24A202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162FBE81-C19D-4544-8B83-886D21A27C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326338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3A00E97-E32D-49D1-870B-6339C62E133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F8AA89FC-C924-4831-AF3C-37F57493FF5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A31BEE61-676C-4276-88E7-66E38BE8297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CAAC0BB-FED6-4672-9C22-7D8E46D0C23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DF027BC3-05FA-44F1-B6E2-F0B35D3E865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0B0DCF97-7F72-40D8-AF4A-46178D16048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81019F68-E090-4FB1-9186-34A70D09E38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D9836C69-A2BC-4CBB-B92B-0E367A045D9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86050713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 – predikce kumulativního počtu nových případů (od 1.1.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5680DFED-CEEB-44D9-819E-85103FD352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3802470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32EAEDF-8C78-49A3-841A-560A5CCEC40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1525456C-C187-4441-A666-FD9C0C2E508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73DC4482-E86C-456E-83EA-1E282811820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489A0B1C-604C-4C27-A1A8-87C6757BDB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99DC0EFE-F963-4CD5-BBFD-D160A4855E2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E6B450E9-6715-415C-AF6E-AFD34ED07F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0868434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36B40C2-1DE5-4A7B-A53D-FBAF7267E18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92A2AF70-9D7A-4290-8BA2-64159241278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EF925505-631F-4FFC-A1AF-5C4D9E46542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0C61DEF2-97E5-4902-8360-A7870456BEE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F46DEF0E-2290-4C24-9057-82950894755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C641E88A-24AB-477A-9321-8F8FF78329C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9C8B343F-D054-46BD-B81E-8852E9DCD67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AB23E26C-93D1-4F50-81C7-5C94A29587D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885670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 – predikce kumulativního počtu nových případů (od 1.1.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EB37F279-1532-4774-A92F-BDDD75364C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5372249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F093F63-EB53-4CB2-86D9-822681F0B0D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7831C690-9441-4BBE-AF06-8B44035BA96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BCC5ADB9-6CFB-4CAD-84EB-868C2542599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0A8772A1-5DDA-4051-BC36-EF518EB02A7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A15DD78E-7F8D-42F9-848B-8C3FA6C6B5F2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566EBA64-7309-4B4C-AE65-2B84DF796F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580171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7EA8C75-1101-4C05-9D20-C9512ABDBE5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90AD9E0-F671-4113-B0BB-27F9F55C5BE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BCC6CDCF-A8C4-46F6-ACB6-66263D8DE54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DE191C55-C75A-4B43-B90E-E1C792DDC14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4C8D838F-DE65-4EE8-941F-C20031793BB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0C4F63B0-01FE-4433-8DDC-2EF8F43C536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D230FEE6-B3CE-46D7-A9A2-03AF984BCE6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186C7467-226C-400A-BA16-5360DFEEAF1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50847284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 – predikce kumulativního počtu nových případů (od 1.1.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CABE9A0-07EB-414E-9A5C-5843859A8BD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351330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3B52C27-83AC-4922-A74A-B91AF3474F5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93ECF6C-DC0F-4C03-8F13-05B155CE986D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6C80705F-A75E-4266-962E-89E61F0989C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4FC82588-56C3-4667-BFE7-3B393E42A38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13FF616C-DDCE-4E9D-B423-1CE010824BD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295E52F3-4AD7-4AF2-A4A8-F6F02CD45B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440364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1288A229-63FD-4E73-84BD-3C4B4A3E344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59911F6A-33D4-4457-92C8-77C5E0D7A5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91B23201-58CD-48ED-803E-4B0AC1B7A5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827679D1-F418-45BB-A9BA-60C3B46C4A6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3997713F-909E-4850-BC45-416381C286D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A352DD25-77A3-49FD-9E09-16E1D1BEBE8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1BD6821D-7217-433C-8B4A-75F4B3B58A4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62AA9917-7100-487B-9AE3-B2EF681F578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56108954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C6C1DAFA-1C3B-4345-98C6-89530C5A52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0479219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 – predikce kumulativního počtu nových případů (od 1.1.2021)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57A7A56A-2B50-4B64-A117-82BC38234D0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6" name="TextBox 31">
            <a:extLst>
              <a:ext uri="{FF2B5EF4-FFF2-40B4-BE49-F238E27FC236}">
                <a16:creationId xmlns:a16="http://schemas.microsoft.com/office/drawing/2014/main" id="{DD364A02-98E9-454A-9694-BC934420E02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15485F14-2846-465C-8AFA-61C3FA52B1F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F398E731-7DEF-4B22-8445-43AD58D3837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38DF0666-E578-4103-B6AB-08996C177AB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4" name="Tabulka 2">
            <a:extLst>
              <a:ext uri="{FF2B5EF4-FFF2-40B4-BE49-F238E27FC236}">
                <a16:creationId xmlns:a16="http://schemas.microsoft.com/office/drawing/2014/main" id="{2AFCB9C6-D1A6-4115-A7B8-BF150525BA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9553960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4" name="Skupina 13">
            <a:extLst>
              <a:ext uri="{FF2B5EF4-FFF2-40B4-BE49-F238E27FC236}">
                <a16:creationId xmlns:a16="http://schemas.microsoft.com/office/drawing/2014/main" id="{A2EEAAB7-3595-4B5C-91A5-1E9F4B262BC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EE943336-A85F-448C-A8F8-993F4625748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1CA8CF34-A4DF-4B46-9F66-E0316E6915A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0E919F2D-8A31-4FDA-BB4D-5346494FDC4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7D417CFB-9A9D-4D30-9420-E7984887390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B90FC34C-9314-4EDE-960B-13842C8DDBE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B37A83EB-4402-4CA7-A75C-F08725843BE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380F5B82-3113-4F1C-8653-FE36FC97DEA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59694938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 – predikce kumulativního počtu nových případů (od 1.1.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B373A2D9-CB20-4625-AFA3-6EFE6E0372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2164187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TextBox 14">
            <a:extLst>
              <a:ext uri="{FF2B5EF4-FFF2-40B4-BE49-F238E27FC236}">
                <a16:creationId xmlns:a16="http://schemas.microsoft.com/office/drawing/2014/main" id="{6993EBE4-E182-4FE5-9F1F-99FAB99B5E6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3" name="TextBox 31">
            <a:extLst>
              <a:ext uri="{FF2B5EF4-FFF2-40B4-BE49-F238E27FC236}">
                <a16:creationId xmlns:a16="http://schemas.microsoft.com/office/drawing/2014/main" id="{44BE85AB-D9DA-4AB2-AE1D-6334473253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43FC341F-8DE7-478D-9FAC-057E38C8782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5" name="Straight Connector 33">
              <a:extLst>
                <a:ext uri="{FF2B5EF4-FFF2-40B4-BE49-F238E27FC236}">
                  <a16:creationId xmlns:a16="http://schemas.microsoft.com/office/drawing/2014/main" id="{EBFE7373-B3DB-4924-A3AF-876894F1236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CF062A53-97B0-4FF1-8E50-0A84542FC7B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B5719DED-EE89-4133-9824-CE2FE27340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1685355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8CD3F6B1-7523-4B8A-AAD1-83CF1B415522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87731F23-6AAC-4F40-9531-43A82F7FC7A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2669470A-689F-4343-9D5B-91D4F719B46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7E95874E-29A8-4075-8A65-CF266D8156E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58BE3C8E-67A1-497E-8D86-CC50136EADF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08EB3AF9-259D-4FED-8692-E4BEB84E2DD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9D18ED65-11BD-4C00-958B-55C5573FDB4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extBox 9">
            <a:extLst>
              <a:ext uri="{FF2B5EF4-FFF2-40B4-BE49-F238E27FC236}">
                <a16:creationId xmlns:a16="http://schemas.microsoft.com/office/drawing/2014/main" id="{876AA75A-8708-4925-A969-F188009A91F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94966819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 – predikce kumulativního počtu nových případů (od 1.1.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7D72507F-24E9-44A5-A543-16C5E613BE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8157036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CD799857-8505-4A07-8D9E-75C4740871B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61DC87A-895B-42C1-AE75-B5306A3E46F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9DEC943A-5FF7-4A3C-B7BD-8741DE76D8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996A9EF5-7063-4D57-A398-3EF130B6AA3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43D349CA-35B8-4F31-9AE0-1E06AD0ECAF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424A6589-D111-46D7-8AB2-CC837673A8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479498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E4F722F-FD0E-4A83-A118-D6294ED3FB0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AB6366F3-4CD2-4BE2-AA2D-A5FA5B4669E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BCA876DB-3E01-4BE9-862E-EAE1B0A58DD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47A25403-7DF4-4309-B43C-A3AD9D7E148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B9B18F9A-BE15-411F-84A2-882DE16A783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4AF5C7EC-1CB1-4CA8-BA0F-B6B9B9A579A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371F525-445B-49F1-A710-4F00C4C8378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A3DB8203-23BF-4BE7-8AB2-21A7AAE3835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07810712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 – predikce kumulativního počtu nových případů (od 1.1.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72A27B3A-69DD-4EC4-907B-B50B9476D4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9698022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6F0E3D64-30C9-43AC-BBE0-10E839AA6CA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01FBD53-3308-4B8C-A0A5-0C7CB2260014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225EFAE-6A39-4AA1-A6EC-DDCB42BBB8C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0E92D1B0-BD75-4BF3-8D98-0536F88AA9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9BFAC30F-418C-4969-B828-66421EA51B2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A2B2E489-7212-4453-B145-2B2F634CF4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044491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6A8A6AE-C283-4ADD-8ED9-7ADE67E80BB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FF1D7DF5-30E0-4C30-9ECE-C7D7DFB510A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8BFE6D5C-24CA-42A8-B430-0FE9448C234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6A862C5-A080-44E8-B073-E493AFDEFA2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FE42B41-651D-461B-BE00-9A5DF55E2F4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C084CC47-94D6-4BE4-9551-1DCCA2FD87A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B0DC3909-854C-4458-AEF4-AB08A0982F9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CE751078-7B5A-47B0-AF34-B69A9D4EC4B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9450380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 – predikce kumulativního počtu nových případů (od 1.1.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6ACE0A4E-FE76-407C-89CF-A4E8438496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1166923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F5E95CC-5E75-4004-9597-41D2CBF6B5C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68DDE47-1557-4C42-8EDD-06CB651B62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FE6EB8A-8A1A-43B1-93B2-947A04E639D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3BBEE0D2-7C55-4F1F-9317-DF18E47B0D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89B8F90F-E49A-408F-9FBD-A484B0B56A0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953C0D60-914F-4AEB-B145-DA807B0022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027236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5878ABD-3B21-451C-9164-8666112634CE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94E094C8-35D2-4428-B2C8-8E540A37D5E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895DBDAC-A132-429B-912F-86FD69A7432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6655271-4CE1-42F9-9889-F8F49EEC640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1EFF60B-7A9C-4394-83E4-ECB493EEE2E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BC50D538-FF5B-4FDC-BC4E-3856A593175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D6E78508-BCBC-4338-9FDE-4AC5FD3C874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28217B79-3D08-4344-BD77-9F71EDECAC8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9486950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Chart 11">
            <a:extLst>
              <a:ext uri="{FF2B5EF4-FFF2-40B4-BE49-F238E27FC236}">
                <a16:creationId xmlns:a16="http://schemas.microsoft.com/office/drawing/2014/main" id="{F7423A05-3E39-4548-B885-B1B952956F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36238323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6473A717-DB52-4496-9C7D-D8FF85378C8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476F7103-0D40-4C08-BD67-8CF84B5D55C9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7" name="Skupina 46">
            <a:extLst>
              <a:ext uri="{FF2B5EF4-FFF2-40B4-BE49-F238E27FC236}">
                <a16:creationId xmlns:a16="http://schemas.microsoft.com/office/drawing/2014/main" id="{C519DDF0-AD3E-477C-9A5A-E3A5F198BC4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9" name="Straight Connector 33">
              <a:extLst>
                <a:ext uri="{FF2B5EF4-FFF2-40B4-BE49-F238E27FC236}">
                  <a16:creationId xmlns:a16="http://schemas.microsoft.com/office/drawing/2014/main" id="{D9FE4C33-8E06-474C-AAD3-1ABD9E01CED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34">
              <a:extLst>
                <a:ext uri="{FF2B5EF4-FFF2-40B4-BE49-F238E27FC236}">
                  <a16:creationId xmlns:a16="http://schemas.microsoft.com/office/drawing/2014/main" id="{B09E21F5-4F04-4912-BB5B-231746E97BA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0" name="Tabulka 2">
            <a:extLst>
              <a:ext uri="{FF2B5EF4-FFF2-40B4-BE49-F238E27FC236}">
                <a16:creationId xmlns:a16="http://schemas.microsoft.com/office/drawing/2014/main" id="{B1FFAABC-CAA8-4C24-948C-DF32AADF94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0211508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0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424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42" name="TextBox 9">
            <a:extLst>
              <a:ext uri="{FF2B5EF4-FFF2-40B4-BE49-F238E27FC236}">
                <a16:creationId xmlns:a16="http://schemas.microsoft.com/office/drawing/2014/main" id="{1B240E17-9412-405D-827B-C17F12455A2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98B9D771-7E79-4C30-8E0C-E5D465403435}"/>
              </a:ext>
            </a:extLst>
          </p:cNvPr>
          <p:cNvGrpSpPr/>
          <p:nvPr/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F17FDAAE-AAD6-4BEC-9DCE-F6736772B34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E24368E4-022C-4C62-9775-41CBF3FC5C4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75192BC9-16D9-48FE-803C-01DE6A2CB14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BAA15585-119A-4583-B833-9092232A91E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8A282D18-8273-47B6-BA45-6FAE7829ED4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B3810010-B23C-452B-93DD-979322C6B26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8A86F0CE-F665-4D2F-8406-56AD8AEEAA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038494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 – predikce kumulativního počtu nových případů (od 1.1.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013F39F8-0A8A-478C-8473-2D937502A1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7109593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87EE37-D3EB-4503-9B65-6A2CEC6CE31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CEFE8C2-8CA5-402C-80E3-AA873722D8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D851B109-B4D7-4B13-AA55-CA15228F13C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421EFAE9-6EEA-466B-8B86-7CD60DCAE6A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A4C1BFD2-46FE-426E-A9D8-E30C0117CE5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E71A9063-7860-47D1-9F46-2E1BA577F2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102997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EA901BC-914E-4575-ACDC-47A87242B90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02FD7907-ADDD-4AFA-B3F4-D85879E44F9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6E6D54CF-DB8E-4E31-8517-44635E5B36A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B79E11A5-E2BE-4BE6-AAFB-D836BEE1C9D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34F49809-1FD0-4666-8D5A-D2F055032B3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D1607084-B6D5-475C-9F76-B24F52AC090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049B2417-A4AA-4CBD-AF72-B99F8E1FD14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41EE5F8A-4AF7-4E3C-BE41-644FD0B3077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409694231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 – predikce kumulativního počtu nových případů (od 1.1.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18527B39-056D-46D4-93E7-B49E0B1B01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0434856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519D2141-9299-4B5B-8218-0753BE2C7A2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FF0C132-90A7-44A4-BD26-DADE5234B9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788AD950-E36C-461B-9A24-CB7A432E722C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AE326990-88B1-400F-9E58-CD0C630A13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4F4BF246-0934-4A33-967D-4C2DEA0E816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913F01C0-0A21-4696-8FE4-ABF7674ACB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9743216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EFC46F0-C3B3-4E3E-A167-E4E15226381D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02765194-64EF-4D9B-BE39-FF4B75812FB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F4179A28-A6F6-453C-B7A5-58129849FD8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3B89077D-66DD-4D47-B9A3-E7E53823E56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AC412B98-F244-45BF-8A28-FF6C6226BEF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536B9BED-6C66-4A46-B77F-821B2F17328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3B10229C-6346-48D6-A7BF-734F74617AB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918662AE-5AEB-4D87-8D2E-87C775A5EB2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18130624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 – predikce kumulativního počtu nových případů (od 1.1.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7614529-58E6-45E7-ADD5-8E473C1EDA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8803605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5FFB0AB-60CA-4004-ACFA-199B952C55F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53390C9E-CDAE-437E-98AC-C02AE808006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3FEAFF0-90A1-472F-924E-8B151FED7E9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F70E9D96-A1F5-4BAC-9979-F1B06BDB76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80A6A33B-CCD4-47FC-BD1D-9F3CEEBCAB2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0DEF178A-6CA7-4735-BF91-BDBFA7D5C3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8223902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7CF1C8B-0F51-4C01-8EC7-914B162F7A6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7ACD2E60-5018-46CE-9E9B-964645B72EE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29143A67-CD82-4025-82FA-0DE685CEFC7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2BCB97F7-41D0-475A-9EE8-FBBAE31D3AA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3425E4B9-78F8-4089-8710-76C7AD23880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6F5E6932-F518-4253-88DB-F7B09833D2D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A046A9D1-AC8F-4521-BBA7-1560DD0A91A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982BB0B2-AB96-4933-BC63-85B3BE3971F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0546920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824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78D999-1850-49B0-96DA-3614EDCFCD0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4760519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757BA669-242E-4DC1-8D43-543E48FF59D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DDC6401-D3EE-4590-9341-AA2762F8D52E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6B98E12B-A1FE-4FBD-94D2-B8073A7A60AC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AF96D5F2-B160-451E-931F-AAE17E3B469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661709A6-392A-439F-AFC8-2D340A4FD58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3D49F2BA-A5D2-4280-BC02-CD7EEE0166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4801803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8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0CDEAF8-BDE6-4CFF-96AF-96CF38FEF12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E6EB5870-DBD7-4A61-B812-DD35516AEF5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00033D86-B316-4075-BA91-A7D917DDC3A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794628C8-43B3-43B7-9474-CBBB1AFC904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09870AF-476C-44BD-B571-CB8CCE097DB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8B457167-EFBF-437E-8172-9BAC5511999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45442D2E-01D4-4592-A1F7-35D935512C0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121F6911-1A67-4D81-A25D-2126012C807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FDD4F266-C6AC-49A7-813D-363E588CBFA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4589415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6531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2A04911D-CACC-40E9-B7F3-B4ABECDC1D3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79376094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A21B873F-EB74-4E61-B342-7919FA155A9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329E564-1414-431B-90EB-841146634A50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0C608603-7243-40CD-AE54-8AD07B5CD1F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CA35B795-7DF6-42F5-98E7-107449352EC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0E37C034-0D1B-4686-ADA7-225C7583FA4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46CDF3BB-1647-4FE4-8256-4B4BAF70AB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8890104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6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1FE55678-9D1C-43F1-973C-7E2761C7F2D7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3863457D-B71E-4896-907E-1E908F1796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E425D9A4-CD71-4A79-AC70-2089DF166DC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1272B2D4-9218-46F7-8740-513F711976D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5D6931DC-E013-469B-B414-13283D3F5E4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F57D690F-9097-4735-82CB-F6F430B6263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1B4BF40B-5EAD-4078-A738-DB6F3D7C665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CCA454EE-C814-4E47-A5D3-0584BD0CDE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D6177B80-A47C-443D-B734-C2A29B8061F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4767478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519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AACA530-A92A-4FFD-A613-B409B0ECF14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08782451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5B83CD47-3A18-420B-8D2A-961B32A3F3D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469890D3-5EED-4FCC-81B2-4F1C6F13F83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8E8D2488-66CE-437B-9FD9-5E1EB399E52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49C0EF2F-2B21-4D9E-A6AC-8FEF4890369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939BDC2B-92DD-4C2D-B397-E64B7BBAD5C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4464952C-6E0D-4187-828A-D78CA322F3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8026996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9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CCB6E109-6A6B-464D-B2CE-3A331CA1270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83C46D6C-18B6-419E-BD02-6788E981AFB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95CAD159-633E-4F8B-B20A-21145CB9A2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86EF71F4-C5EF-40AC-B836-38B63DF33C6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E7F2BF1B-1DB3-41E9-B1F0-A479AFE4772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B260A201-1965-4D24-9003-62A61378CC1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99FD2421-42C7-432A-BBEA-DB12671872D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0D175F79-7E37-42B2-98D3-573E8E9DDB9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C3F5F8C1-640D-44BE-BC27-52A403D6E29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9086693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805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7BCFCF7-3C31-4884-9ECD-6A201A4EED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36892502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1FB581D9-85E1-4EB1-8A0C-2560641D406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385BA72-9716-4C6D-8344-7F4D15AC224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C6355DD5-47B1-4922-B0DE-3C16355D2EED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2E67693A-CAD5-4EE5-A72F-30D6705A63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A3BB9A65-8E7F-48FD-A41C-A2855739CE2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397F2B7A-F74A-4C52-989F-9484F93A9D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7586927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0CDFD06-B7C0-490B-8024-94FC18766D1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FF9F59B3-BD02-483A-A9EC-99D75955BB1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030568A2-1B7D-4978-BCBF-24D5E2CB1F4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CC9B63B2-EA62-4999-9A70-0C74A6351F4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475C954-ECF8-4D84-9126-0C931FA0A6F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B1573F3F-DFC0-458D-AA5E-EDD60236023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918058B8-E28E-4DCF-B9A4-1E466862845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C9CACA38-42C2-405E-AC93-75418B0C212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EB32143F-D451-4E7F-84C3-C86E856D897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9901482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2"/>
            <a:ext cx="14245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9081278E-1859-499E-A660-995C49E468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6524497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91F6A506-E8C6-4D83-B7FA-AAB3ED7AF00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6E9D42A2-679B-4115-861D-307A533B0DE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57D47D75-90B8-4CA5-A8A6-360BD1541CF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2F891927-C9BB-4EF6-BC05-E86671FA97B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DD84E279-6B4D-4510-8298-6BCD02AA299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8BA4568B-2208-4D85-95B1-A4722D81A9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9700255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1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15AB023C-B396-42E4-89FB-C11B8D1F763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AB83D96F-8DB9-4269-8760-C4EBB13520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A51F68AF-8A53-478C-99CA-83D754558D0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95C0C6D-0074-40B8-B0A9-3F8517F9EA0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A79DD288-F344-4F7A-832C-B9D061FEDB0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9AAF966C-2703-44FF-9B17-D195C3DEF43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04DE5E65-DCE0-475B-A227-2AA13375809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40E8C8F-3575-4CD0-BFD4-7C0BBD918B4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96AD5287-CB36-40F0-8EFB-BD96C0E8A8C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4184276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8DD95BDE-9EA5-4D94-B5AC-A6A1F0DE00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22031813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2"/>
            <a:ext cx="1557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47" name="TextBox 14">
            <a:extLst>
              <a:ext uri="{FF2B5EF4-FFF2-40B4-BE49-F238E27FC236}">
                <a16:creationId xmlns:a16="http://schemas.microsoft.com/office/drawing/2014/main" id="{73DBAC9F-1D60-4927-B501-8D23F806918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8" name="TextBox 31">
            <a:extLst>
              <a:ext uri="{FF2B5EF4-FFF2-40B4-BE49-F238E27FC236}">
                <a16:creationId xmlns:a16="http://schemas.microsoft.com/office/drawing/2014/main" id="{B8A45F97-BDC3-4B04-981C-98E021C880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9" name="Skupina 48">
            <a:extLst>
              <a:ext uri="{FF2B5EF4-FFF2-40B4-BE49-F238E27FC236}">
                <a16:creationId xmlns:a16="http://schemas.microsoft.com/office/drawing/2014/main" id="{C007880A-F386-4D98-9E0D-25FE35783CF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50" name="Straight Connector 33">
              <a:extLst>
                <a:ext uri="{FF2B5EF4-FFF2-40B4-BE49-F238E27FC236}">
                  <a16:creationId xmlns:a16="http://schemas.microsoft.com/office/drawing/2014/main" id="{A4DAEC55-58BC-4380-B29F-3E6E1D74BE9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34">
              <a:extLst>
                <a:ext uri="{FF2B5EF4-FFF2-40B4-BE49-F238E27FC236}">
                  <a16:creationId xmlns:a16="http://schemas.microsoft.com/office/drawing/2014/main" id="{CB7B02BE-7C55-48A7-96F1-8A8D36D4A06F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4" name="Tabulka 2">
            <a:extLst>
              <a:ext uri="{FF2B5EF4-FFF2-40B4-BE49-F238E27FC236}">
                <a16:creationId xmlns:a16="http://schemas.microsoft.com/office/drawing/2014/main" id="{2ADA3394-F5EF-4614-88E2-DD261D828C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9284740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4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4" name="Skupina 13">
            <a:extLst>
              <a:ext uri="{FF2B5EF4-FFF2-40B4-BE49-F238E27FC236}">
                <a16:creationId xmlns:a16="http://schemas.microsoft.com/office/drawing/2014/main" id="{E7D82E63-C6F2-4470-9A58-ED8C13C23E3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3C393707-2238-4B90-9ADD-9034F4F96B3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4727A222-38AA-4611-A41D-875BF0875C4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93B7B117-B54B-4315-B491-15189D8397D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E27286C-0799-4734-A0A9-CB74C0EB84A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35E0204E-F029-416A-A1F3-F806902CBF0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193CA92E-23FC-472A-81B5-DE96A4AE47A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AE4564A-B823-49ED-B079-A53C398FE25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Box 9">
            <a:extLst>
              <a:ext uri="{FF2B5EF4-FFF2-40B4-BE49-F238E27FC236}">
                <a16:creationId xmlns:a16="http://schemas.microsoft.com/office/drawing/2014/main" id="{49643FE0-0760-419E-9118-43F646CB97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1104678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2" id="{2D4A943D-6CF5-40F5-A5FA-3C4268B520E4}" vid="{E1241590-6921-44BE-A193-115F12259E7B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3</TotalTime>
  <Words>2208</Words>
  <Application>Microsoft Office PowerPoint</Application>
  <PresentationFormat>Širokoúhlá obrazovka</PresentationFormat>
  <Paragraphs>393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2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Krejčí Denisa RNDr.</cp:lastModifiedBy>
  <cp:revision>51</cp:revision>
  <dcterms:created xsi:type="dcterms:W3CDTF">2021-03-07T17:04:34Z</dcterms:created>
  <dcterms:modified xsi:type="dcterms:W3CDTF">2021-04-04T15:52:17Z</dcterms:modified>
</cp:coreProperties>
</file>